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6.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7.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39.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40.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4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4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43.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tags/tag44.xml" ContentType="application/vnd.openxmlformats-officedocument.presentationml.tags+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45.xml" ContentType="application/vnd.openxmlformats-officedocument.presentationml.tags+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tags/tag46.xml" ContentType="application/vnd.openxmlformats-officedocument.presentationml.tags+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tags/tag47.xml" ContentType="application/vnd.openxmlformats-officedocument.presentationml.tags+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tags/tag48.xml" ContentType="application/vnd.openxmlformats-officedocument.presentationml.tags+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49.xml" ContentType="application/vnd.openxmlformats-officedocument.presentationml.tags+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tags/tag50.xml" ContentType="application/vnd.openxmlformats-officedocument.presentationml.tags+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tags/tag51.xml" ContentType="application/vnd.openxmlformats-officedocument.presentationml.tags+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tags/tag52.xml" ContentType="application/vnd.openxmlformats-officedocument.presentationml.tags+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tags/tag53.xml" ContentType="application/vnd.openxmlformats-officedocument.presentationml.tags+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tags/tag54.xml" ContentType="application/vnd.openxmlformats-officedocument.presentationml.tags+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tags/tag55.xml" ContentType="application/vnd.openxmlformats-officedocument.presentationml.tags+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tags/tag56.xml" ContentType="application/vnd.openxmlformats-officedocument.presentationml.tags+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7.xml" ContentType="application/vnd.openxmlformats-officedocument.presentationml.tags+xml"/>
  <Override PartName="/ppt/charts/chart82.xml" ContentType="application/vnd.openxmlformats-officedocument.drawingml.chart+xml"/>
  <Override PartName="/ppt/tags/tag58.xml" ContentType="application/vnd.openxmlformats-officedocument.presentationml.tags+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tags/tag59.xml" ContentType="application/vnd.openxmlformats-officedocument.presentationml.tags+xml"/>
  <Override PartName="/ppt/charts/chart87.xml" ContentType="application/vnd.openxmlformats-officedocument.drawingml.chart+xml"/>
  <Override PartName="/ppt/tags/tag60.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tags/tag61.xml" ContentType="application/vnd.openxmlformats-officedocument.presentationml.tags+xml"/>
  <Override PartName="/ppt/charts/chart92.xml" ContentType="application/vnd.openxmlformats-officedocument.drawingml.chart+xml"/>
  <Override PartName="/ppt/tags/tag62.xml" ContentType="application/vnd.openxmlformats-officedocument.presentationml.tags+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3.xml" ContentType="application/vnd.openxmlformats-officedocument.presentationml.tags+xml"/>
  <Override PartName="/ppt/charts/chart97.xml" ContentType="application/vnd.openxmlformats-officedocument.drawingml.chart+xml"/>
  <Override PartName="/ppt/tags/tag64.xml" ContentType="application/vnd.openxmlformats-officedocument.presentationml.tags+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tags/tag65.xml" ContentType="application/vnd.openxmlformats-officedocument.presentationml.tags+xml"/>
  <Override PartName="/ppt/charts/chart102.xml" ContentType="application/vnd.openxmlformats-officedocument.drawingml.chart+xml"/>
  <Override PartName="/ppt/tags/tag66.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tags/tag67.xml" ContentType="application/vnd.openxmlformats-officedocument.presentationml.tags+xml"/>
  <Override PartName="/ppt/charts/chart107.xml" ContentType="application/vnd.openxmlformats-officedocument.drawingml.chart+xml"/>
  <Override PartName="/ppt/tags/tag68.xml" ContentType="application/vnd.openxmlformats-officedocument.presentationml.tags+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9.xml" ContentType="application/vnd.openxmlformats-officedocument.presentationml.tags+xml"/>
  <Override PartName="/ppt/charts/chart112.xml" ContentType="application/vnd.openxmlformats-officedocument.drawingml.chart+xml"/>
  <Override PartName="/ppt/tags/tag70.xml" ContentType="application/vnd.openxmlformats-officedocument.presentationml.tags+xml"/>
  <Override PartName="/ppt/charts/chart113.xml" ContentType="application/vnd.openxmlformats-officedocument.drawingml.chart+xml"/>
  <Override PartName="/ppt/tags/tag71.xml" ContentType="application/vnd.openxmlformats-officedocument.presentationml.tags+xml"/>
  <Override PartName="/ppt/charts/chart114.xml" ContentType="application/vnd.openxmlformats-officedocument.drawingml.chart+xml"/>
  <Override PartName="/ppt/tags/tag72.xml" ContentType="application/vnd.openxmlformats-officedocument.presentationml.tags+xml"/>
  <Override PartName="/ppt/charts/chart115.xml" ContentType="application/vnd.openxmlformats-officedocument.drawingml.chart+xml"/>
  <Override PartName="/ppt/tags/tag73.xml" ContentType="application/vnd.openxmlformats-officedocument.presentationml.tags+xml"/>
  <Override PartName="/ppt/charts/chart116.xml" ContentType="application/vnd.openxmlformats-officedocument.drawingml.chart+xml"/>
  <Override PartName="/ppt/tags/tag74.xml" ContentType="application/vnd.openxmlformats-officedocument.presentationml.tags+xml"/>
  <Override PartName="/ppt/charts/chart117.xml" ContentType="application/vnd.openxmlformats-officedocument.drawingml.chart+xml"/>
  <Override PartName="/ppt/tags/tag75.xml" ContentType="application/vnd.openxmlformats-officedocument.presentationml.tags+xml"/>
  <Override PartName="/ppt/charts/chart118.xml" ContentType="application/vnd.openxmlformats-officedocument.drawingml.chart+xml"/>
  <Override PartName="/ppt/tags/tag76.xml" ContentType="application/vnd.openxmlformats-officedocument.presentationml.tags+xml"/>
  <Override PartName="/ppt/charts/chart119.xml" ContentType="application/vnd.openxmlformats-officedocument.drawingml.chart+xml"/>
  <Override PartName="/ppt/tags/tag77.xml" ContentType="application/vnd.openxmlformats-officedocument.presentationml.tags+xml"/>
  <Override PartName="/ppt/charts/chart120.xml" ContentType="application/vnd.openxmlformats-officedocument.drawingml.chart+xml"/>
  <Override PartName="/ppt/tags/tag78.xml" ContentType="application/vnd.openxmlformats-officedocument.presentationml.tags+xml"/>
  <Override PartName="/ppt/charts/chart121.xml" ContentType="application/vnd.openxmlformats-officedocument.drawingml.chart+xml"/>
  <Override PartName="/ppt/tags/tag79.xml" ContentType="application/vnd.openxmlformats-officedocument.presentationml.tags+xml"/>
  <Override PartName="/ppt/charts/chart122.xml" ContentType="application/vnd.openxmlformats-officedocument.drawingml.chart+xml"/>
  <Override PartName="/ppt/tags/tag80.xml" ContentType="application/vnd.openxmlformats-officedocument.presentationml.tags+xml"/>
  <Override PartName="/ppt/charts/chart123.xml" ContentType="application/vnd.openxmlformats-officedocument.drawingml.chart+xml"/>
  <Override PartName="/ppt/tags/tag81.xml" ContentType="application/vnd.openxmlformats-officedocument.presentationml.tags+xml"/>
  <Override PartName="/ppt/charts/chart124.xml" ContentType="application/vnd.openxmlformats-officedocument.drawingml.chart+xml"/>
  <Override PartName="/ppt/tags/tag82.xml" ContentType="application/vnd.openxmlformats-officedocument.presentationml.tags+xml"/>
  <Override PartName="/ppt/charts/chart125.xml" ContentType="application/vnd.openxmlformats-officedocument.drawingml.chart+xml"/>
  <Override PartName="/ppt/tags/tag83.xml" ContentType="application/vnd.openxmlformats-officedocument.presentationml.tags+xml"/>
  <Override PartName="/ppt/charts/chart126.xml" ContentType="application/vnd.openxmlformats-officedocument.drawingml.chart+xml"/>
  <Override PartName="/ppt/tags/tag84.xml" ContentType="application/vnd.openxmlformats-officedocument.presentationml.tags+xml"/>
  <Override PartName="/ppt/charts/chart127.xml" ContentType="application/vnd.openxmlformats-officedocument.drawingml.chart+xml"/>
  <Override PartName="/ppt/tags/tag85.xml" ContentType="application/vnd.openxmlformats-officedocument.presentationml.tags+xml"/>
  <Override PartName="/ppt/charts/chart128.xml" ContentType="application/vnd.openxmlformats-officedocument.drawingml.chart+xml"/>
  <Override PartName="/ppt/tags/tag86.xml" ContentType="application/vnd.openxmlformats-officedocument.presentationml.tags+xml"/>
  <Override PartName="/ppt/charts/chart129.xml" ContentType="application/vnd.openxmlformats-officedocument.drawingml.chart+xml"/>
  <Override PartName="/ppt/tags/tag87.xml" ContentType="application/vnd.openxmlformats-officedocument.presentationml.tags+xml"/>
  <Override PartName="/ppt/charts/chart130.xml" ContentType="application/vnd.openxmlformats-officedocument.drawingml.chart+xml"/>
  <Override PartName="/ppt/tags/tag88.xml" ContentType="application/vnd.openxmlformats-officedocument.presentationml.tags+xml"/>
  <Override PartName="/ppt/charts/chart131.xml" ContentType="application/vnd.openxmlformats-officedocument.drawingml.chart+xml"/>
  <Override PartName="/ppt/tags/tag89.xml" ContentType="application/vnd.openxmlformats-officedocument.presentationml.tags+xml"/>
  <Override PartName="/ppt/charts/chart132.xml" ContentType="application/vnd.openxmlformats-officedocument.drawingml.chart+xml"/>
  <Override PartName="/ppt/tags/tag90.xml" ContentType="application/vnd.openxmlformats-officedocument.presentationml.tags+xml"/>
  <Override PartName="/ppt/charts/chart133.xml" ContentType="application/vnd.openxmlformats-officedocument.drawingml.chart+xml"/>
  <Override PartName="/ppt/tags/tag91.xml" ContentType="application/vnd.openxmlformats-officedocument.presentationml.tags+xml"/>
  <Override PartName="/ppt/charts/chart134.xml" ContentType="application/vnd.openxmlformats-officedocument.drawingml.chart+xml"/>
  <Override PartName="/ppt/tags/tag92.xml" ContentType="application/vnd.openxmlformats-officedocument.presentationml.tags+xml"/>
  <Override PartName="/ppt/charts/chart135.xml" ContentType="application/vnd.openxmlformats-officedocument.drawingml.chart+xml"/>
  <Override PartName="/ppt/tags/tag93.xml" ContentType="application/vnd.openxmlformats-officedocument.presentationml.tags+xml"/>
  <Override PartName="/ppt/charts/chart136.xml" ContentType="application/vnd.openxmlformats-officedocument.drawingml.chart+xml"/>
  <Override PartName="/ppt/tags/tag94.xml" ContentType="application/vnd.openxmlformats-officedocument.presentationml.tags+xml"/>
  <Override PartName="/ppt/charts/chart137.xml" ContentType="application/vnd.openxmlformats-officedocument.drawingml.chart+xml"/>
  <Override PartName="/ppt/tags/tag95.xml" ContentType="application/vnd.openxmlformats-officedocument.presentationml.tags+xml"/>
  <Override PartName="/ppt/charts/chart138.xml" ContentType="application/vnd.openxmlformats-officedocument.drawingml.chart+xml"/>
  <Override PartName="/ppt/tags/tag96.xml" ContentType="application/vnd.openxmlformats-officedocument.presentationml.tags+xml"/>
  <Override PartName="/ppt/charts/chart139.xml" ContentType="application/vnd.openxmlformats-officedocument.drawingml.chart+xml"/>
  <Override PartName="/ppt/tags/tag97.xml" ContentType="application/vnd.openxmlformats-officedocument.presentationml.tags+xml"/>
  <Override PartName="/ppt/charts/chart140.xml" ContentType="application/vnd.openxmlformats-officedocument.drawingml.chart+xml"/>
  <Override PartName="/ppt/tags/tag98.xml" ContentType="application/vnd.openxmlformats-officedocument.presentationml.tags+xml"/>
  <Override PartName="/ppt/charts/chart141.xml" ContentType="application/vnd.openxmlformats-officedocument.drawingml.chart+xml"/>
  <Override PartName="/ppt/tags/tag99.xml" ContentType="application/vnd.openxmlformats-officedocument.presentationml.tags+xml"/>
  <Override PartName="/ppt/charts/chart142.xml" ContentType="application/vnd.openxmlformats-officedocument.drawingml.chart+xml"/>
  <Override PartName="/ppt/tags/tag100.xml" ContentType="application/vnd.openxmlformats-officedocument.presentationml.tags+xml"/>
  <Override PartName="/ppt/charts/chart143.xml" ContentType="application/vnd.openxmlformats-officedocument.drawingml.chart+xml"/>
  <Override PartName="/ppt/tags/tag101.xml" ContentType="application/vnd.openxmlformats-officedocument.presentationml.tags+xml"/>
  <Override PartName="/ppt/charts/chart144.xml" ContentType="application/vnd.openxmlformats-officedocument.drawingml.chart+xml"/>
  <Override PartName="/ppt/tags/tag102.xml" ContentType="application/vnd.openxmlformats-officedocument.presentationml.tags+xml"/>
  <Override PartName="/ppt/charts/chart145.xml" ContentType="application/vnd.openxmlformats-officedocument.drawingml.chart+xml"/>
  <Override PartName="/ppt/tags/tag103.xml" ContentType="application/vnd.openxmlformats-officedocument.presentationml.tags+xml"/>
  <Override PartName="/ppt/charts/chart146.xml" ContentType="application/vnd.openxmlformats-officedocument.drawingml.chart+xml"/>
  <Override PartName="/ppt/tags/tag104.xml" ContentType="application/vnd.openxmlformats-officedocument.presentationml.tags+xml"/>
  <Override PartName="/ppt/charts/chart147.xml" ContentType="application/vnd.openxmlformats-officedocument.drawingml.chart+xml"/>
  <Override PartName="/ppt/tags/tag105.xml" ContentType="application/vnd.openxmlformats-officedocument.presentationml.tags+xml"/>
  <Override PartName="/ppt/charts/chart148.xml" ContentType="application/vnd.openxmlformats-officedocument.drawingml.chart+xml"/>
  <Override PartName="/ppt/tags/tag106.xml" ContentType="application/vnd.openxmlformats-officedocument.presentationml.tags+xml"/>
  <Override PartName="/ppt/charts/chart149.xml" ContentType="application/vnd.openxmlformats-officedocument.drawingml.chart+xml"/>
  <Override PartName="/ppt/tags/tag107.xml" ContentType="application/vnd.openxmlformats-officedocument.presentationml.tags+xml"/>
  <Override PartName="/ppt/charts/chart150.xml" ContentType="application/vnd.openxmlformats-officedocument.drawingml.chart+xml"/>
  <Override PartName="/ppt/tags/tag108.xml" ContentType="application/vnd.openxmlformats-officedocument.presentationml.tags+xml"/>
  <Override PartName="/ppt/charts/chart151.xml" ContentType="application/vnd.openxmlformats-officedocument.drawingml.chart+xml"/>
  <Override PartName="/ppt/tags/tag109.xml" ContentType="application/vnd.openxmlformats-officedocument.presentationml.tags+xml"/>
  <Override PartName="/ppt/charts/chart152.xml" ContentType="application/vnd.openxmlformats-officedocument.drawingml.chart+xml"/>
  <Override PartName="/ppt/tags/tag110.xml" ContentType="application/vnd.openxmlformats-officedocument.presentationml.tags+xml"/>
  <Override PartName="/ppt/charts/chart153.xml" ContentType="application/vnd.openxmlformats-officedocument.drawingml.chart+xml"/>
  <Override PartName="/ppt/tags/tag111.xml" ContentType="application/vnd.openxmlformats-officedocument.presentationml.tags+xml"/>
  <Override PartName="/ppt/charts/chart154.xml" ContentType="application/vnd.openxmlformats-officedocument.drawingml.chart+xml"/>
  <Override PartName="/ppt/tags/tag112.xml" ContentType="application/vnd.openxmlformats-officedocument.presentationml.tags+xml"/>
  <Override PartName="/ppt/charts/chart155.xml" ContentType="application/vnd.openxmlformats-officedocument.drawingml.chart+xml"/>
  <Override PartName="/ppt/tags/tag113.xml" ContentType="application/vnd.openxmlformats-officedocument.presentationml.tags+xml"/>
  <Override PartName="/ppt/charts/chart156.xml" ContentType="application/vnd.openxmlformats-officedocument.drawingml.chart+xml"/>
  <Override PartName="/ppt/tags/tag114.xml" ContentType="application/vnd.openxmlformats-officedocument.presentationml.tags+xml"/>
  <Override PartName="/ppt/charts/chart157.xml" ContentType="application/vnd.openxmlformats-officedocument.drawingml.chart+xml"/>
  <Override PartName="/ppt/tags/tag115.xml" ContentType="application/vnd.openxmlformats-officedocument.presentationml.tags+xml"/>
  <Override PartName="/ppt/charts/chart158.xml" ContentType="application/vnd.openxmlformats-officedocument.drawingml.chart+xml"/>
  <Override PartName="/ppt/tags/tag116.xml" ContentType="application/vnd.openxmlformats-officedocument.presentationml.tags+xml"/>
  <Override PartName="/ppt/charts/chart159.xml" ContentType="application/vnd.openxmlformats-officedocument.drawingml.chart+xml"/>
  <Override PartName="/ppt/tags/tag117.xml" ContentType="application/vnd.openxmlformats-officedocument.presentationml.tags+xml"/>
  <Override PartName="/ppt/charts/chart160.xml" ContentType="application/vnd.openxmlformats-officedocument.drawingml.chart+xml"/>
  <Override PartName="/ppt/tags/tag118.xml" ContentType="application/vnd.openxmlformats-officedocument.presentationml.tags+xml"/>
  <Override PartName="/ppt/charts/chart161.xml" ContentType="application/vnd.openxmlformats-officedocument.drawingml.chart+xml"/>
  <Override PartName="/ppt/tags/tag119.xml" ContentType="application/vnd.openxmlformats-officedocument.presentationml.tags+xml"/>
  <Override PartName="/ppt/charts/chart162.xml" ContentType="application/vnd.openxmlformats-officedocument.drawingml.chart+xml"/>
  <Override PartName="/ppt/tags/tag120.xml" ContentType="application/vnd.openxmlformats-officedocument.presentationml.tags+xml"/>
  <Override PartName="/ppt/charts/chart163.xml" ContentType="application/vnd.openxmlformats-officedocument.drawingml.chart+xml"/>
  <Override PartName="/ppt/tags/tag121.xml" ContentType="application/vnd.openxmlformats-officedocument.presentationml.tags+xml"/>
  <Override PartName="/ppt/charts/chart164.xml" ContentType="application/vnd.openxmlformats-officedocument.drawingml.chart+xml"/>
  <Override PartName="/ppt/tags/tag122.xml" ContentType="application/vnd.openxmlformats-officedocument.presentationml.tags+xml"/>
  <Override PartName="/ppt/charts/chart165.xml" ContentType="application/vnd.openxmlformats-officedocument.drawingml.chart+xml"/>
  <Override PartName="/ppt/tags/tag123.xml" ContentType="application/vnd.openxmlformats-officedocument.presentationml.tags+xml"/>
  <Override PartName="/ppt/charts/chart166.xml" ContentType="application/vnd.openxmlformats-officedocument.drawingml.chart+xml"/>
  <Override PartName="/ppt/tags/tag124.xml" ContentType="application/vnd.openxmlformats-officedocument.presentationml.tags+xml"/>
  <Override PartName="/ppt/charts/chart167.xml" ContentType="application/vnd.openxmlformats-officedocument.drawingml.chart+xml"/>
  <Override PartName="/ppt/tags/tag125.xml" ContentType="application/vnd.openxmlformats-officedocument.presentationml.tags+xml"/>
  <Override PartName="/ppt/charts/chart168.xml" ContentType="application/vnd.openxmlformats-officedocument.drawingml.chart+xml"/>
  <Override PartName="/ppt/tags/tag126.xml" ContentType="application/vnd.openxmlformats-officedocument.presentationml.tags+xml"/>
  <Override PartName="/ppt/charts/chart169.xml" ContentType="application/vnd.openxmlformats-officedocument.drawingml.chart+xml"/>
  <Override PartName="/ppt/tags/tag127.xml" ContentType="application/vnd.openxmlformats-officedocument.presentationml.tags+xml"/>
  <Override PartName="/ppt/charts/chart170.xml" ContentType="application/vnd.openxmlformats-officedocument.drawingml.chart+xml"/>
  <Override PartName="/ppt/tags/tag128.xml" ContentType="application/vnd.openxmlformats-officedocument.presentationml.tags+xml"/>
  <Override PartName="/ppt/charts/chart171.xml" ContentType="application/vnd.openxmlformats-officedocument.drawingml.chart+xml"/>
  <Override PartName="/ppt/tags/tag129.xml" ContentType="application/vnd.openxmlformats-officedocument.presentationml.tags+xml"/>
  <Override PartName="/ppt/charts/chart172.xml" ContentType="application/vnd.openxmlformats-officedocument.drawingml.chart+xml"/>
  <Override PartName="/ppt/tags/tag130.xml" ContentType="application/vnd.openxmlformats-officedocument.presentationml.tags+xml"/>
  <Override PartName="/ppt/charts/chart173.xml" ContentType="application/vnd.openxmlformats-officedocument.drawingml.chart+xml"/>
  <Override PartName="/ppt/tags/tag131.xml" ContentType="application/vnd.openxmlformats-officedocument.presentationml.tags+xml"/>
  <Override PartName="/ppt/charts/chart174.xml" ContentType="application/vnd.openxmlformats-officedocument.drawingml.chart+xml"/>
  <Override PartName="/ppt/tags/tag132.xml" ContentType="application/vnd.openxmlformats-officedocument.presentationml.tags+xml"/>
  <Override PartName="/ppt/charts/chart175.xml" ContentType="application/vnd.openxmlformats-officedocument.drawingml.chart+xml"/>
  <Override PartName="/ppt/tags/tag133.xml" ContentType="application/vnd.openxmlformats-officedocument.presentationml.tags+xml"/>
  <Override PartName="/ppt/charts/chart176.xml" ContentType="application/vnd.openxmlformats-officedocument.drawingml.chart+xml"/>
  <Override PartName="/ppt/tags/tag134.xml" ContentType="application/vnd.openxmlformats-officedocument.presentationml.tags+xml"/>
  <Override PartName="/ppt/charts/chart177.xml" ContentType="application/vnd.openxmlformats-officedocument.drawingml.chart+xml"/>
  <Override PartName="/ppt/tags/tag135.xml" ContentType="application/vnd.openxmlformats-officedocument.presentationml.tags+xml"/>
  <Override PartName="/ppt/charts/chart178.xml" ContentType="application/vnd.openxmlformats-officedocument.drawingml.chart+xml"/>
  <Override PartName="/ppt/tags/tag136.xml" ContentType="application/vnd.openxmlformats-officedocument.presentationml.tags+xml"/>
  <Override PartName="/ppt/charts/chart179.xml" ContentType="application/vnd.openxmlformats-officedocument.drawingml.chart+xml"/>
  <Override PartName="/ppt/tags/tag137.xml" ContentType="application/vnd.openxmlformats-officedocument.presentationml.tags+xml"/>
  <Override PartName="/ppt/charts/chart180.xml" ContentType="application/vnd.openxmlformats-officedocument.drawingml.chart+xml"/>
  <Override PartName="/ppt/tags/tag138.xml" ContentType="application/vnd.openxmlformats-officedocument.presentationml.tags+xml"/>
  <Override PartName="/ppt/charts/chart181.xml" ContentType="application/vnd.openxmlformats-officedocument.drawingml.chart+xml"/>
  <Override PartName="/ppt/tags/tag139.xml" ContentType="application/vnd.openxmlformats-officedocument.presentationml.tags+xml"/>
  <Override PartName="/ppt/charts/chart182.xml" ContentType="application/vnd.openxmlformats-officedocument.drawingml.chart+xml"/>
  <Override PartName="/ppt/tags/tag140.xml" ContentType="application/vnd.openxmlformats-officedocument.presentationml.tags+xml"/>
  <Override PartName="/ppt/charts/chart183.xml" ContentType="application/vnd.openxmlformats-officedocument.drawingml.chart+xml"/>
  <Override PartName="/ppt/tags/tag141.xml" ContentType="application/vnd.openxmlformats-officedocument.presentationml.tags+xml"/>
  <Override PartName="/ppt/charts/chart184.xml" ContentType="application/vnd.openxmlformats-officedocument.drawingml.chart+xml"/>
  <Override PartName="/ppt/tags/tag142.xml" ContentType="application/vnd.openxmlformats-officedocument.presentationml.tags+xml"/>
  <Override PartName="/ppt/charts/chart185.xml" ContentType="application/vnd.openxmlformats-officedocument.drawingml.chart+xml"/>
  <Override PartName="/ppt/tags/tag143.xml" ContentType="application/vnd.openxmlformats-officedocument.presentationml.tags+xml"/>
  <Override PartName="/ppt/charts/chart186.xml" ContentType="application/vnd.openxmlformats-officedocument.drawingml.chart+xml"/>
  <Override PartName="/ppt/tags/tag144.xml" ContentType="application/vnd.openxmlformats-officedocument.presentationml.tags+xml"/>
  <Override PartName="/ppt/charts/chart187.xml" ContentType="application/vnd.openxmlformats-officedocument.drawingml.chart+xml"/>
  <Override PartName="/ppt/tags/tag145.xml" ContentType="application/vnd.openxmlformats-officedocument.presentationml.tags+xml"/>
  <Override PartName="/ppt/charts/chart188.xml" ContentType="application/vnd.openxmlformats-officedocument.drawingml.chart+xml"/>
  <Override PartName="/ppt/tags/tag146.xml" ContentType="application/vnd.openxmlformats-officedocument.presentationml.tags+xml"/>
  <Override PartName="/ppt/charts/chart189.xml" ContentType="application/vnd.openxmlformats-officedocument.drawingml.chart+xml"/>
  <Override PartName="/ppt/tags/tag147.xml" ContentType="application/vnd.openxmlformats-officedocument.presentationml.tags+xml"/>
  <Override PartName="/ppt/charts/chart190.xml" ContentType="application/vnd.openxmlformats-officedocument.drawingml.chart+xml"/>
  <Override PartName="/ppt/tags/tag148.xml" ContentType="application/vnd.openxmlformats-officedocument.presentationml.tags+xml"/>
  <Override PartName="/ppt/charts/chart191.xml" ContentType="application/vnd.openxmlformats-officedocument.drawingml.chart+xml"/>
  <Override PartName="/ppt/tags/tag149.xml" ContentType="application/vnd.openxmlformats-officedocument.presentationml.tags+xml"/>
  <Override PartName="/ppt/charts/chart192.xml" ContentType="application/vnd.openxmlformats-officedocument.drawingml.chart+xml"/>
  <Override PartName="/ppt/tags/tag150.xml" ContentType="application/vnd.openxmlformats-officedocument.presentationml.tags+xml"/>
  <Override PartName="/ppt/charts/chart193.xml" ContentType="application/vnd.openxmlformats-officedocument.drawingml.chart+xml"/>
  <Override PartName="/ppt/tags/tag151.xml" ContentType="application/vnd.openxmlformats-officedocument.presentationml.tags+xml"/>
  <Override PartName="/ppt/charts/chart194.xml" ContentType="application/vnd.openxmlformats-officedocument.drawingml.chart+xml"/>
  <Override PartName="/ppt/tags/tag152.xml" ContentType="application/vnd.openxmlformats-officedocument.presentationml.tags+xml"/>
  <Override PartName="/ppt/charts/chart195.xml" ContentType="application/vnd.openxmlformats-officedocument.drawingml.chart+xml"/>
  <Override PartName="/ppt/tags/tag153.xml" ContentType="application/vnd.openxmlformats-officedocument.presentationml.tags+xml"/>
  <Override PartName="/ppt/charts/chart196.xml" ContentType="application/vnd.openxmlformats-officedocument.drawingml.chart+xml"/>
  <Override PartName="/ppt/tags/tag154.xml" ContentType="application/vnd.openxmlformats-officedocument.presentationml.tags+xml"/>
  <Override PartName="/ppt/charts/chart197.xml" ContentType="application/vnd.openxmlformats-officedocument.drawingml.chart+xml"/>
  <Override PartName="/ppt/tags/tag155.xml" ContentType="application/vnd.openxmlformats-officedocument.presentationml.tags+xml"/>
  <Override PartName="/ppt/charts/chart198.xml" ContentType="application/vnd.openxmlformats-officedocument.drawingml.chart+xml"/>
  <Override PartName="/ppt/tags/tag156.xml" ContentType="application/vnd.openxmlformats-officedocument.presentationml.tags+xml"/>
  <Override PartName="/ppt/charts/chart199.xml" ContentType="application/vnd.openxmlformats-officedocument.drawingml.chart+xml"/>
  <Override PartName="/ppt/tags/tag157.xml" ContentType="application/vnd.openxmlformats-officedocument.presentationml.tags+xml"/>
  <Override PartName="/ppt/charts/chart200.xml" ContentType="application/vnd.openxmlformats-officedocument.drawingml.chart+xml"/>
  <Override PartName="/ppt/tags/tag158.xml" ContentType="application/vnd.openxmlformats-officedocument.presentationml.tags+xml"/>
  <Override PartName="/ppt/charts/chart201.xml" ContentType="application/vnd.openxmlformats-officedocument.drawingml.chart+xml"/>
  <Override PartName="/ppt/tags/tag159.xml" ContentType="application/vnd.openxmlformats-officedocument.presentationml.tags+xml"/>
  <Override PartName="/ppt/charts/chart202.xml" ContentType="application/vnd.openxmlformats-officedocument.drawingml.chart+xml"/>
  <Override PartName="/ppt/tags/tag160.xml" ContentType="application/vnd.openxmlformats-officedocument.presentationml.tags+xml"/>
  <Override PartName="/ppt/charts/chart203.xml" ContentType="application/vnd.openxmlformats-officedocument.drawingml.chart+xml"/>
  <Override PartName="/ppt/tags/tag161.xml" ContentType="application/vnd.openxmlformats-officedocument.presentationml.tags+xml"/>
  <Override PartName="/ppt/charts/chart204.xml" ContentType="application/vnd.openxmlformats-officedocument.drawingml.chart+xml"/>
  <Override PartName="/ppt/tags/tag162.xml" ContentType="application/vnd.openxmlformats-officedocument.presentationml.tags+xml"/>
  <Override PartName="/ppt/charts/chart205.xml" ContentType="application/vnd.openxmlformats-officedocument.drawingml.chart+xml"/>
  <Override PartName="/ppt/tags/tag163.xml" ContentType="application/vnd.openxmlformats-officedocument.presentationml.tags+xml"/>
  <Override PartName="/ppt/charts/chart206.xml" ContentType="application/vnd.openxmlformats-officedocument.drawingml.chart+xml"/>
  <Override PartName="/ppt/tags/tag164.xml" ContentType="application/vnd.openxmlformats-officedocument.presentationml.tags+xml"/>
  <Override PartName="/ppt/charts/chart207.xml" ContentType="application/vnd.openxmlformats-officedocument.drawingml.chart+xml"/>
  <Override PartName="/ppt/tags/tag165.xml" ContentType="application/vnd.openxmlformats-officedocument.presentationml.tags+xml"/>
  <Override PartName="/ppt/charts/chart208.xml" ContentType="application/vnd.openxmlformats-officedocument.drawingml.chart+xml"/>
  <Override PartName="/ppt/tags/tag166.xml" ContentType="application/vnd.openxmlformats-officedocument.presentationml.tags+xml"/>
  <Override PartName="/ppt/charts/chart209.xml" ContentType="application/vnd.openxmlformats-officedocument.drawingml.chart+xml"/>
  <Override PartName="/ppt/tags/tag167.xml" ContentType="application/vnd.openxmlformats-officedocument.presentationml.tags+xml"/>
  <Override PartName="/ppt/charts/chart210.xml" ContentType="application/vnd.openxmlformats-officedocument.drawingml.chart+xml"/>
  <Override PartName="/ppt/tags/tag168.xml" ContentType="application/vnd.openxmlformats-officedocument.presentationml.tags+xml"/>
  <Override PartName="/ppt/charts/chart211.xml" ContentType="application/vnd.openxmlformats-officedocument.drawingml.chart+xml"/>
  <Override PartName="/ppt/tags/tag169.xml" ContentType="application/vnd.openxmlformats-officedocument.presentationml.tags+xml"/>
  <Override PartName="/ppt/charts/chart212.xml" ContentType="application/vnd.openxmlformats-officedocument.drawingml.chart+xml"/>
  <Override PartName="/ppt/tags/tag170.xml" ContentType="application/vnd.openxmlformats-officedocument.presentationml.tags+xml"/>
  <Override PartName="/ppt/charts/chart213.xml" ContentType="application/vnd.openxmlformats-officedocument.drawingml.chart+xml"/>
  <Override PartName="/ppt/tags/tag171.xml" ContentType="application/vnd.openxmlformats-officedocument.presentationml.tags+xml"/>
  <Override PartName="/ppt/charts/chart214.xml" ContentType="application/vnd.openxmlformats-officedocument.drawingml.chart+xml"/>
  <Override PartName="/ppt/tags/tag172.xml" ContentType="application/vnd.openxmlformats-officedocument.presentationml.tags+xml"/>
  <Override PartName="/ppt/charts/chart215.xml" ContentType="application/vnd.openxmlformats-officedocument.drawingml.chart+xml"/>
  <Override PartName="/ppt/tags/tag173.xml" ContentType="application/vnd.openxmlformats-officedocument.presentationml.tags+xml"/>
  <Override PartName="/ppt/charts/chart216.xml" ContentType="application/vnd.openxmlformats-officedocument.drawingml.chart+xml"/>
  <Override PartName="/ppt/tags/tag174.xml" ContentType="application/vnd.openxmlformats-officedocument.presentationml.tags+xml"/>
  <Override PartName="/ppt/charts/chart217.xml" ContentType="application/vnd.openxmlformats-officedocument.drawingml.chart+xml"/>
  <Override PartName="/ppt/tags/tag175.xml" ContentType="application/vnd.openxmlformats-officedocument.presentationml.tags+xml"/>
  <Override PartName="/ppt/charts/chart218.xml" ContentType="application/vnd.openxmlformats-officedocument.drawingml.chart+xml"/>
  <Override PartName="/ppt/tags/tag176.xml" ContentType="application/vnd.openxmlformats-officedocument.presentationml.tags+xml"/>
  <Override PartName="/ppt/charts/chart219.xml" ContentType="application/vnd.openxmlformats-officedocument.drawingml.chart+xml"/>
  <Override PartName="/ppt/tags/tag177.xml" ContentType="application/vnd.openxmlformats-officedocument.presentationml.tags+xml"/>
  <Override PartName="/ppt/charts/chart220.xml" ContentType="application/vnd.openxmlformats-officedocument.drawingml.chart+xml"/>
  <Override PartName="/ppt/tags/tag178.xml" ContentType="application/vnd.openxmlformats-officedocument.presentationml.tags+xml"/>
  <Override PartName="/ppt/charts/chart221.xml" ContentType="application/vnd.openxmlformats-officedocument.drawingml.chart+xml"/>
  <Override PartName="/ppt/tags/tag179.xml" ContentType="application/vnd.openxmlformats-officedocument.presentationml.tags+xml"/>
  <Override PartName="/ppt/charts/chart222.xml" ContentType="application/vnd.openxmlformats-officedocument.drawingml.chart+xml"/>
  <Override PartName="/ppt/tags/tag180.xml" ContentType="application/vnd.openxmlformats-officedocument.presentationml.tags+xml"/>
  <Override PartName="/ppt/charts/chart223.xml" ContentType="application/vnd.openxmlformats-officedocument.drawingml.chart+xml"/>
  <Override PartName="/ppt/tags/tag181.xml" ContentType="application/vnd.openxmlformats-officedocument.presentationml.tags+xml"/>
  <Override PartName="/ppt/charts/chart224.xml" ContentType="application/vnd.openxmlformats-officedocument.drawingml.chart+xml"/>
  <Override PartName="/ppt/tags/tag182.xml" ContentType="application/vnd.openxmlformats-officedocument.presentationml.tags+xml"/>
  <Override PartName="/ppt/charts/chart225.xml" ContentType="application/vnd.openxmlformats-officedocument.drawingml.chart+xml"/>
  <Override PartName="/ppt/tags/tag183.xml" ContentType="application/vnd.openxmlformats-officedocument.presentationml.tags+xml"/>
  <Override PartName="/ppt/charts/chart226.xml" ContentType="application/vnd.openxmlformats-officedocument.drawingml.chart+xml"/>
  <Override PartName="/ppt/tags/tag184.xml" ContentType="application/vnd.openxmlformats-officedocument.presentationml.tags+xml"/>
  <Override PartName="/ppt/charts/chart227.xml" ContentType="application/vnd.openxmlformats-officedocument.drawingml.chart+xml"/>
  <Override PartName="/ppt/tags/tag185.xml" ContentType="application/vnd.openxmlformats-officedocument.presentationml.tags+xml"/>
  <Override PartName="/ppt/charts/chart228.xml" ContentType="application/vnd.openxmlformats-officedocument.drawingml.chart+xml"/>
  <Override PartName="/ppt/tags/tag186.xml" ContentType="application/vnd.openxmlformats-officedocument.presentationml.tags+xml"/>
  <Override PartName="/ppt/charts/chart229.xml" ContentType="application/vnd.openxmlformats-officedocument.drawingml.chart+xml"/>
  <Override PartName="/ppt/tags/tag187.xml" ContentType="application/vnd.openxmlformats-officedocument.presentationml.tags+xml"/>
  <Override PartName="/ppt/charts/chart230.xml" ContentType="application/vnd.openxmlformats-officedocument.drawingml.chart+xml"/>
  <Override PartName="/ppt/tags/tag188.xml" ContentType="application/vnd.openxmlformats-officedocument.presentationml.tags+xml"/>
  <Override PartName="/ppt/charts/chart231.xml" ContentType="application/vnd.openxmlformats-officedocument.drawingml.chart+xml"/>
  <Override PartName="/ppt/tags/tag189.xml" ContentType="application/vnd.openxmlformats-officedocument.presentationml.tags+xml"/>
  <Override PartName="/ppt/charts/chart232.xml" ContentType="application/vnd.openxmlformats-officedocument.drawingml.chart+xml"/>
  <Override PartName="/ppt/tags/tag190.xml" ContentType="application/vnd.openxmlformats-officedocument.presentationml.tags+xml"/>
  <Override PartName="/ppt/charts/chart233.xml" ContentType="application/vnd.openxmlformats-officedocument.drawingml.chart+xml"/>
  <Override PartName="/ppt/tags/tag191.xml" ContentType="application/vnd.openxmlformats-officedocument.presentationml.tags+xml"/>
  <Override PartName="/ppt/charts/chart234.xml" ContentType="application/vnd.openxmlformats-officedocument.drawingml.chart+xml"/>
  <Override PartName="/ppt/tags/tag192.xml" ContentType="application/vnd.openxmlformats-officedocument.presentationml.tags+xml"/>
  <Override PartName="/ppt/charts/chart235.xml" ContentType="application/vnd.openxmlformats-officedocument.drawingml.chart+xml"/>
  <Override PartName="/ppt/tags/tag193.xml" ContentType="application/vnd.openxmlformats-officedocument.presentationml.tags+xml"/>
  <Override PartName="/ppt/charts/chart236.xml" ContentType="application/vnd.openxmlformats-officedocument.drawingml.chart+xml"/>
  <Override PartName="/ppt/tags/tag194.xml" ContentType="application/vnd.openxmlformats-officedocument.presentationml.tags+xml"/>
  <Override PartName="/ppt/charts/chart237.xml" ContentType="application/vnd.openxmlformats-officedocument.drawingml.chart+xml"/>
  <Override PartName="/ppt/tags/tag195.xml" ContentType="application/vnd.openxmlformats-officedocument.presentationml.tags+xml"/>
  <Override PartName="/ppt/charts/chart238.xml" ContentType="application/vnd.openxmlformats-officedocument.drawingml.chart+xml"/>
  <Override PartName="/ppt/tags/tag196.xml" ContentType="application/vnd.openxmlformats-officedocument.presentationml.tags+xml"/>
  <Override PartName="/ppt/charts/chart239.xml" ContentType="application/vnd.openxmlformats-officedocument.drawingml.chart+xml"/>
  <Override PartName="/ppt/tags/tag197.xml" ContentType="application/vnd.openxmlformats-officedocument.presentationml.tags+xml"/>
  <Override PartName="/ppt/charts/chart240.xml" ContentType="application/vnd.openxmlformats-officedocument.drawingml.chart+xml"/>
  <Override PartName="/ppt/tags/tag198.xml" ContentType="application/vnd.openxmlformats-officedocument.presentationml.tags+xml"/>
  <Override PartName="/ppt/charts/chart241.xml" ContentType="application/vnd.openxmlformats-officedocument.drawingml.chart+xml"/>
  <Override PartName="/ppt/tags/tag199.xml" ContentType="application/vnd.openxmlformats-officedocument.presentationml.tags+xml"/>
  <Override PartName="/ppt/charts/chart242.xml" ContentType="application/vnd.openxmlformats-officedocument.drawingml.chart+xml"/>
  <Override PartName="/ppt/tags/tag200.xml" ContentType="application/vnd.openxmlformats-officedocument.presentationml.tags+xml"/>
  <Override PartName="/ppt/charts/chart243.xml" ContentType="application/vnd.openxmlformats-officedocument.drawingml.chart+xml"/>
  <Override PartName="/ppt/tags/tag201.xml" ContentType="application/vnd.openxmlformats-officedocument.presentationml.tags+xml"/>
  <Override PartName="/ppt/charts/chart244.xml" ContentType="application/vnd.openxmlformats-officedocument.drawingml.chart+xml"/>
  <Override PartName="/ppt/tags/tag202.xml" ContentType="application/vnd.openxmlformats-officedocument.presentationml.tags+xml"/>
  <Override PartName="/ppt/charts/chart245.xml" ContentType="application/vnd.openxmlformats-officedocument.drawingml.chart+xml"/>
  <Override PartName="/ppt/tags/tag203.xml" ContentType="application/vnd.openxmlformats-officedocument.presentationml.tags+xml"/>
  <Override PartName="/ppt/charts/chart246.xml" ContentType="application/vnd.openxmlformats-officedocument.drawingml.chart+xml"/>
  <Override PartName="/ppt/tags/tag204.xml" ContentType="application/vnd.openxmlformats-officedocument.presentationml.tags+xml"/>
  <Override PartName="/ppt/charts/chart247.xml" ContentType="application/vnd.openxmlformats-officedocument.drawingml.chart+xml"/>
  <Override PartName="/ppt/tags/tag205.xml" ContentType="application/vnd.openxmlformats-officedocument.presentationml.tags+xml"/>
  <Override PartName="/ppt/charts/chart248.xml" ContentType="application/vnd.openxmlformats-officedocument.drawingml.chart+xml"/>
  <Override PartName="/ppt/tags/tag206.xml" ContentType="application/vnd.openxmlformats-officedocument.presentationml.tags+xml"/>
  <Override PartName="/ppt/charts/chart249.xml" ContentType="application/vnd.openxmlformats-officedocument.drawingml.chart+xml"/>
  <Override PartName="/ppt/tags/tag207.xml" ContentType="application/vnd.openxmlformats-officedocument.presentationml.tags+xml"/>
  <Override PartName="/ppt/charts/chart250.xml" ContentType="application/vnd.openxmlformats-officedocument.drawingml.chart+xml"/>
  <Override PartName="/ppt/tags/tag208.xml" ContentType="application/vnd.openxmlformats-officedocument.presentationml.tags+xml"/>
  <Override PartName="/ppt/charts/chart251.xml" ContentType="application/vnd.openxmlformats-officedocument.drawingml.chart+xml"/>
  <Override PartName="/ppt/tags/tag209.xml" ContentType="application/vnd.openxmlformats-officedocument.presentationml.tags+xml"/>
  <Override PartName="/ppt/charts/chart252.xml" ContentType="application/vnd.openxmlformats-officedocument.drawingml.chart+xml"/>
  <Override PartName="/ppt/tags/tag210.xml" ContentType="application/vnd.openxmlformats-officedocument.presentationml.tags+xml"/>
  <Override PartName="/ppt/charts/chart253.xml" ContentType="application/vnd.openxmlformats-officedocument.drawingml.chart+xml"/>
  <Override PartName="/ppt/tags/tag211.xml" ContentType="application/vnd.openxmlformats-officedocument.presentationml.tags+xml"/>
  <Override PartName="/ppt/charts/chart254.xml" ContentType="application/vnd.openxmlformats-officedocument.drawingml.chart+xml"/>
  <Override PartName="/ppt/tags/tag212.xml" ContentType="application/vnd.openxmlformats-officedocument.presentationml.tags+xml"/>
  <Override PartName="/ppt/charts/chart255.xml" ContentType="application/vnd.openxmlformats-officedocument.drawingml.chart+xml"/>
  <Override PartName="/ppt/tags/tag213.xml" ContentType="application/vnd.openxmlformats-officedocument.presentationml.tags+xml"/>
  <Override PartName="/ppt/charts/chart256.xml" ContentType="application/vnd.openxmlformats-officedocument.drawingml.chart+xml"/>
  <Override PartName="/ppt/tags/tag214.xml" ContentType="application/vnd.openxmlformats-officedocument.presentationml.tags+xml"/>
  <Override PartName="/ppt/charts/chart257.xml" ContentType="application/vnd.openxmlformats-officedocument.drawingml.chart+xml"/>
  <Override PartName="/ppt/tags/tag215.xml" ContentType="application/vnd.openxmlformats-officedocument.presentationml.tags+xml"/>
  <Override PartName="/ppt/charts/chart258.xml" ContentType="application/vnd.openxmlformats-officedocument.drawingml.chart+xml"/>
  <Override PartName="/ppt/tags/tag216.xml" ContentType="application/vnd.openxmlformats-officedocument.presentationml.tags+xml"/>
  <Override PartName="/ppt/charts/chart259.xml" ContentType="application/vnd.openxmlformats-officedocument.drawingml.chart+xml"/>
  <Override PartName="/ppt/tags/tag217.xml" ContentType="application/vnd.openxmlformats-officedocument.presentationml.tags+xml"/>
  <Override PartName="/ppt/charts/chart260.xml" ContentType="application/vnd.openxmlformats-officedocument.drawingml.chart+xml"/>
  <Override PartName="/ppt/tags/tag218.xml" ContentType="application/vnd.openxmlformats-officedocument.presentationml.tags+xml"/>
  <Override PartName="/ppt/charts/chart261.xml" ContentType="application/vnd.openxmlformats-officedocument.drawingml.chart+xml"/>
  <Override PartName="/ppt/tags/tag219.xml" ContentType="application/vnd.openxmlformats-officedocument.presentationml.tags+xml"/>
  <Override PartName="/ppt/charts/chart262.xml" ContentType="application/vnd.openxmlformats-officedocument.drawingml.chart+xml"/>
  <Override PartName="/ppt/tags/tag220.xml" ContentType="application/vnd.openxmlformats-officedocument.presentationml.tags+xml"/>
  <Override PartName="/ppt/charts/chart263.xml" ContentType="application/vnd.openxmlformats-officedocument.drawingml.chart+xml"/>
  <Override PartName="/ppt/tags/tag221.xml" ContentType="application/vnd.openxmlformats-officedocument.presentationml.tags+xml"/>
  <Override PartName="/ppt/charts/chart264.xml" ContentType="application/vnd.openxmlformats-officedocument.drawingml.chart+xml"/>
  <Override PartName="/ppt/tags/tag222.xml" ContentType="application/vnd.openxmlformats-officedocument.presentationml.tags+xml"/>
  <Override PartName="/ppt/charts/chart265.xml" ContentType="application/vnd.openxmlformats-officedocument.drawingml.chart+xml"/>
  <Override PartName="/ppt/tags/tag223.xml" ContentType="application/vnd.openxmlformats-officedocument.presentationml.tags+xml"/>
  <Override PartName="/ppt/charts/chart266.xml" ContentType="application/vnd.openxmlformats-officedocument.drawingml.chart+xml"/>
  <Override PartName="/ppt/tags/tag224.xml" ContentType="application/vnd.openxmlformats-officedocument.presentationml.tags+xml"/>
  <Override PartName="/ppt/charts/chart267.xml" ContentType="application/vnd.openxmlformats-officedocument.drawingml.chart+xml"/>
  <Override PartName="/ppt/tags/tag225.xml" ContentType="application/vnd.openxmlformats-officedocument.presentationml.tags+xml"/>
  <Override PartName="/ppt/charts/chart268.xml" ContentType="application/vnd.openxmlformats-officedocument.drawingml.chart+xml"/>
  <Override PartName="/ppt/tags/tag226.xml" ContentType="application/vnd.openxmlformats-officedocument.presentationml.tags+xml"/>
  <Override PartName="/ppt/charts/chart269.xml" ContentType="application/vnd.openxmlformats-officedocument.drawingml.chart+xml"/>
  <Override PartName="/ppt/tags/tag227.xml" ContentType="application/vnd.openxmlformats-officedocument.presentationml.tags+xml"/>
  <Override PartName="/ppt/charts/chart270.xml" ContentType="application/vnd.openxmlformats-officedocument.drawingml.chart+xml"/>
  <Override PartName="/ppt/tags/tag228.xml" ContentType="application/vnd.openxmlformats-officedocument.presentationml.tags+xml"/>
  <Override PartName="/ppt/charts/chart271.xml" ContentType="application/vnd.openxmlformats-officedocument.drawingml.chart+xml"/>
  <Override PartName="/ppt/tags/tag229.xml" ContentType="application/vnd.openxmlformats-officedocument.presentationml.tags+xml"/>
  <Override PartName="/ppt/charts/chart272.xml" ContentType="application/vnd.openxmlformats-officedocument.drawingml.chart+xml"/>
  <Override PartName="/ppt/tags/tag230.xml" ContentType="application/vnd.openxmlformats-officedocument.presentationml.tags+xml"/>
  <Override PartName="/ppt/charts/chart273.xml" ContentType="application/vnd.openxmlformats-officedocument.drawingml.chart+xml"/>
  <Override PartName="/ppt/tags/tag231.xml" ContentType="application/vnd.openxmlformats-officedocument.presentationml.tags+xml"/>
  <Override PartName="/ppt/charts/chart274.xml" ContentType="application/vnd.openxmlformats-officedocument.drawingml.chart+xml"/>
  <Override PartName="/ppt/tags/tag232.xml" ContentType="application/vnd.openxmlformats-officedocument.presentationml.tags+xml"/>
  <Override PartName="/ppt/charts/chart275.xml" ContentType="application/vnd.openxmlformats-officedocument.drawingml.chart+xml"/>
  <Override PartName="/ppt/tags/tag233.xml" ContentType="application/vnd.openxmlformats-officedocument.presentationml.tags+xml"/>
  <Override PartName="/ppt/charts/chart276.xml" ContentType="application/vnd.openxmlformats-officedocument.drawingml.chart+xml"/>
  <Override PartName="/ppt/tags/tag234.xml" ContentType="application/vnd.openxmlformats-officedocument.presentationml.tags+xml"/>
  <Override PartName="/ppt/charts/chart277.xml" ContentType="application/vnd.openxmlformats-officedocument.drawingml.chart+xml"/>
  <Override PartName="/ppt/tags/tag235.xml" ContentType="application/vnd.openxmlformats-officedocument.presentationml.tags+xml"/>
  <Override PartName="/ppt/charts/chart278.xml" ContentType="application/vnd.openxmlformats-officedocument.drawingml.chart+xml"/>
  <Override PartName="/ppt/tags/tag236.xml" ContentType="application/vnd.openxmlformats-officedocument.presentationml.tags+xml"/>
  <Override PartName="/ppt/charts/chart279.xml" ContentType="application/vnd.openxmlformats-officedocument.drawingml.chart+xml"/>
  <Override PartName="/ppt/tags/tag237.xml" ContentType="application/vnd.openxmlformats-officedocument.presentationml.tags+xml"/>
  <Override PartName="/ppt/charts/chart280.xml" ContentType="application/vnd.openxmlformats-officedocument.drawingml.chart+xml"/>
  <Override PartName="/ppt/tags/tag238.xml" ContentType="application/vnd.openxmlformats-officedocument.presentationml.tags+xml"/>
  <Override PartName="/ppt/charts/chart281.xml" ContentType="application/vnd.openxmlformats-officedocument.drawingml.chart+xml"/>
  <Override PartName="/ppt/tags/tag239.xml" ContentType="application/vnd.openxmlformats-officedocument.presentationml.tags+xml"/>
  <Override PartName="/ppt/charts/chart282.xml" ContentType="application/vnd.openxmlformats-officedocument.drawingml.chart+xml"/>
  <Override PartName="/ppt/tags/tag240.xml" ContentType="application/vnd.openxmlformats-officedocument.presentationml.tags+xml"/>
  <Override PartName="/ppt/charts/chart283.xml" ContentType="application/vnd.openxmlformats-officedocument.drawingml.chart+xml"/>
  <Override PartName="/ppt/tags/tag241.xml" ContentType="application/vnd.openxmlformats-officedocument.presentationml.tags+xml"/>
  <Override PartName="/ppt/charts/chart284.xml" ContentType="application/vnd.openxmlformats-officedocument.drawingml.chart+xml"/>
  <Override PartName="/ppt/tags/tag242.xml" ContentType="application/vnd.openxmlformats-officedocument.presentationml.tags+xml"/>
  <Override PartName="/ppt/charts/chart285.xml" ContentType="application/vnd.openxmlformats-officedocument.drawingml.chart+xml"/>
  <Override PartName="/ppt/tags/tag243.xml" ContentType="application/vnd.openxmlformats-officedocument.presentationml.tags+xml"/>
  <Override PartName="/ppt/charts/chart286.xml" ContentType="application/vnd.openxmlformats-officedocument.drawingml.chart+xml"/>
  <Override PartName="/ppt/tags/tag244.xml" ContentType="application/vnd.openxmlformats-officedocument.presentationml.tags+xml"/>
  <Override PartName="/ppt/charts/chart287.xml" ContentType="application/vnd.openxmlformats-officedocument.drawingml.chart+xml"/>
  <Override PartName="/ppt/tags/tag245.xml" ContentType="application/vnd.openxmlformats-officedocument.presentationml.tags+xml"/>
  <Override PartName="/ppt/charts/chart288.xml" ContentType="application/vnd.openxmlformats-officedocument.drawingml.chart+xml"/>
  <Override PartName="/ppt/tags/tag246.xml" ContentType="application/vnd.openxmlformats-officedocument.presentationml.tags+xml"/>
  <Override PartName="/ppt/charts/chart289.xml" ContentType="application/vnd.openxmlformats-officedocument.drawingml.chart+xml"/>
  <Override PartName="/ppt/tags/tag247.xml" ContentType="application/vnd.openxmlformats-officedocument.presentationml.tags+xml"/>
  <Override PartName="/ppt/charts/chart290.xml" ContentType="application/vnd.openxmlformats-officedocument.drawingml.chart+xml"/>
  <Override PartName="/ppt/tags/tag248.xml" ContentType="application/vnd.openxmlformats-officedocument.presentationml.tags+xml"/>
  <Override PartName="/ppt/charts/chart291.xml" ContentType="application/vnd.openxmlformats-officedocument.drawingml.chart+xml"/>
  <Override PartName="/ppt/tags/tag249.xml" ContentType="application/vnd.openxmlformats-officedocument.presentationml.tags+xml"/>
  <Override PartName="/ppt/charts/chart292.xml" ContentType="application/vnd.openxmlformats-officedocument.drawingml.chart+xml"/>
  <Override PartName="/ppt/tags/tag250.xml" ContentType="application/vnd.openxmlformats-officedocument.presentationml.tags+xml"/>
  <Override PartName="/ppt/charts/chart293.xml" ContentType="application/vnd.openxmlformats-officedocument.drawingml.chart+xml"/>
  <Override PartName="/ppt/tags/tag251.xml" ContentType="application/vnd.openxmlformats-officedocument.presentationml.tags+xml"/>
  <Override PartName="/ppt/charts/chart294.xml" ContentType="application/vnd.openxmlformats-officedocument.drawingml.chart+xml"/>
  <Override PartName="/ppt/tags/tag252.xml" ContentType="application/vnd.openxmlformats-officedocument.presentationml.tags+xml"/>
  <Override PartName="/ppt/charts/chart295.xml" ContentType="application/vnd.openxmlformats-officedocument.drawingml.chart+xml"/>
  <Override PartName="/ppt/tags/tag253.xml" ContentType="application/vnd.openxmlformats-officedocument.presentationml.tags+xml"/>
  <Override PartName="/ppt/charts/chart296.xml" ContentType="application/vnd.openxmlformats-officedocument.drawingml.chart+xml"/>
  <Override PartName="/ppt/tags/tag254.xml" ContentType="application/vnd.openxmlformats-officedocument.presentationml.tags+xml"/>
  <Override PartName="/ppt/charts/chart297.xml" ContentType="application/vnd.openxmlformats-officedocument.drawingml.chart+xml"/>
  <Override PartName="/ppt/tags/tag255.xml" ContentType="application/vnd.openxmlformats-officedocument.presentationml.tags+xml"/>
  <Override PartName="/ppt/charts/chart298.xml" ContentType="application/vnd.openxmlformats-officedocument.drawingml.chart+xml"/>
  <Override PartName="/ppt/tags/tag256.xml" ContentType="application/vnd.openxmlformats-officedocument.presentationml.tags+xml"/>
  <Override PartName="/ppt/charts/chart299.xml" ContentType="application/vnd.openxmlformats-officedocument.drawingml.chart+xml"/>
  <Override PartName="/ppt/tags/tag257.xml" ContentType="application/vnd.openxmlformats-officedocument.presentationml.tags+xml"/>
  <Override PartName="/ppt/charts/chart300.xml" ContentType="application/vnd.openxmlformats-officedocument.drawingml.chart+xml"/>
  <Override PartName="/ppt/tags/tag258.xml" ContentType="application/vnd.openxmlformats-officedocument.presentationml.tags+xml"/>
  <Override PartName="/ppt/charts/chart301.xml" ContentType="application/vnd.openxmlformats-officedocument.drawingml.chart+xml"/>
  <Override PartName="/ppt/tags/tag259.xml" ContentType="application/vnd.openxmlformats-officedocument.presentationml.tags+xml"/>
  <Override PartName="/ppt/charts/chart302.xml" ContentType="application/vnd.openxmlformats-officedocument.drawingml.chart+xml"/>
  <Override PartName="/ppt/tags/tag260.xml" ContentType="application/vnd.openxmlformats-officedocument.presentationml.tags+xml"/>
  <Override PartName="/ppt/charts/chart303.xml" ContentType="application/vnd.openxmlformats-officedocument.drawingml.chart+xml"/>
  <Override PartName="/ppt/tags/tag261.xml" ContentType="application/vnd.openxmlformats-officedocument.presentationml.tags+xml"/>
  <Override PartName="/ppt/charts/chart304.xml" ContentType="application/vnd.openxmlformats-officedocument.drawingml.chart+xml"/>
  <Override PartName="/ppt/tags/tag262.xml" ContentType="application/vnd.openxmlformats-officedocument.presentationml.tags+xml"/>
  <Override PartName="/ppt/charts/chart305.xml" ContentType="application/vnd.openxmlformats-officedocument.drawingml.chart+xml"/>
  <Override PartName="/ppt/tags/tag263.xml" ContentType="application/vnd.openxmlformats-officedocument.presentationml.tags+xml"/>
  <Override PartName="/ppt/charts/chart306.xml" ContentType="application/vnd.openxmlformats-officedocument.drawingml.chart+xml"/>
  <Override PartName="/ppt/tags/tag264.xml" ContentType="application/vnd.openxmlformats-officedocument.presentationml.tags+xml"/>
  <Override PartName="/ppt/charts/chart307.xml" ContentType="application/vnd.openxmlformats-officedocument.drawingml.chart+xml"/>
  <Override PartName="/ppt/tags/tag265.xml" ContentType="application/vnd.openxmlformats-officedocument.presentationml.tags+xml"/>
  <Override PartName="/ppt/charts/chart308.xml" ContentType="application/vnd.openxmlformats-officedocument.drawingml.chart+xml"/>
  <Override PartName="/ppt/tags/tag266.xml" ContentType="application/vnd.openxmlformats-officedocument.presentationml.tags+xml"/>
  <Override PartName="/ppt/charts/chart309.xml" ContentType="application/vnd.openxmlformats-officedocument.drawingml.chart+xml"/>
  <Override PartName="/ppt/tags/tag267.xml" ContentType="application/vnd.openxmlformats-officedocument.presentationml.tags+xml"/>
  <Override PartName="/ppt/charts/chart310.xml" ContentType="application/vnd.openxmlformats-officedocument.drawingml.chart+xml"/>
  <Override PartName="/ppt/tags/tag268.xml" ContentType="application/vnd.openxmlformats-officedocument.presentationml.tags+xml"/>
  <Override PartName="/ppt/charts/chart311.xml" ContentType="application/vnd.openxmlformats-officedocument.drawingml.chart+xml"/>
  <Override PartName="/ppt/tags/tag269.xml" ContentType="application/vnd.openxmlformats-officedocument.presentationml.tags+xml"/>
  <Override PartName="/ppt/charts/chart312.xml" ContentType="application/vnd.openxmlformats-officedocument.drawingml.chart+xml"/>
  <Override PartName="/ppt/tags/tag270.xml" ContentType="application/vnd.openxmlformats-officedocument.presentationml.tags+xml"/>
  <Override PartName="/ppt/charts/chart313.xml" ContentType="application/vnd.openxmlformats-officedocument.drawingml.chart+xml"/>
  <Override PartName="/ppt/tags/tag271.xml" ContentType="application/vnd.openxmlformats-officedocument.presentationml.tags+xml"/>
  <Override PartName="/ppt/charts/chart314.xml" ContentType="application/vnd.openxmlformats-officedocument.drawingml.chart+xml"/>
  <Override PartName="/ppt/tags/tag272.xml" ContentType="application/vnd.openxmlformats-officedocument.presentationml.tags+xml"/>
  <Override PartName="/ppt/charts/chart315.xml" ContentType="application/vnd.openxmlformats-officedocument.drawingml.chart+xml"/>
  <Override PartName="/ppt/tags/tag273.xml" ContentType="application/vnd.openxmlformats-officedocument.presentationml.tags+xml"/>
  <Override PartName="/ppt/charts/chart316.xml" ContentType="application/vnd.openxmlformats-officedocument.drawingml.chart+xml"/>
  <Override PartName="/ppt/tags/tag274.xml" ContentType="application/vnd.openxmlformats-officedocument.presentationml.tags+xml"/>
  <Override PartName="/ppt/charts/chart317.xml" ContentType="application/vnd.openxmlformats-officedocument.drawingml.chart+xml"/>
  <Override PartName="/ppt/tags/tag275.xml" ContentType="application/vnd.openxmlformats-officedocument.presentationml.tags+xml"/>
  <Override PartName="/ppt/charts/chart318.xml" ContentType="application/vnd.openxmlformats-officedocument.drawingml.chart+xml"/>
  <Override PartName="/ppt/tags/tag276.xml" ContentType="application/vnd.openxmlformats-officedocument.presentationml.tags+xml"/>
  <Override PartName="/ppt/charts/chart319.xml" ContentType="application/vnd.openxmlformats-officedocument.drawingml.chart+xml"/>
  <Override PartName="/ppt/tags/tag277.xml" ContentType="application/vnd.openxmlformats-officedocument.presentationml.tags+xml"/>
  <Override PartName="/ppt/charts/chart320.xml" ContentType="application/vnd.openxmlformats-officedocument.drawingml.chart+xml"/>
  <Override PartName="/ppt/tags/tag278.xml" ContentType="application/vnd.openxmlformats-officedocument.presentationml.tags+xml"/>
  <Override PartName="/ppt/charts/chart321.xml" ContentType="application/vnd.openxmlformats-officedocument.drawingml.chart+xml"/>
  <Override PartName="/ppt/tags/tag279.xml" ContentType="application/vnd.openxmlformats-officedocument.presentationml.tags+xml"/>
  <Override PartName="/ppt/charts/chart322.xml" ContentType="application/vnd.openxmlformats-officedocument.drawingml.chart+xml"/>
  <Override PartName="/ppt/tags/tag280.xml" ContentType="application/vnd.openxmlformats-officedocument.presentationml.tags+xml"/>
  <Override PartName="/ppt/charts/chart323.xml" ContentType="application/vnd.openxmlformats-officedocument.drawingml.chart+xml"/>
  <Override PartName="/ppt/tags/tag281.xml" ContentType="application/vnd.openxmlformats-officedocument.presentationml.tags+xml"/>
  <Override PartName="/ppt/charts/chart324.xml" ContentType="application/vnd.openxmlformats-officedocument.drawingml.chart+xml"/>
  <Override PartName="/ppt/tags/tag282.xml" ContentType="application/vnd.openxmlformats-officedocument.presentationml.tags+xml"/>
  <Override PartName="/ppt/charts/chart325.xml" ContentType="application/vnd.openxmlformats-officedocument.drawingml.chart+xml"/>
  <Override PartName="/ppt/tags/tag283.xml" ContentType="application/vnd.openxmlformats-officedocument.presentationml.tags+xml"/>
  <Override PartName="/ppt/charts/chart326.xml" ContentType="application/vnd.openxmlformats-officedocument.drawingml.chart+xml"/>
  <Override PartName="/ppt/tags/tag284.xml" ContentType="application/vnd.openxmlformats-officedocument.presentationml.tags+xml"/>
  <Override PartName="/ppt/charts/chart327.xml" ContentType="application/vnd.openxmlformats-officedocument.drawingml.chart+xml"/>
  <Override PartName="/ppt/tags/tag285.xml" ContentType="application/vnd.openxmlformats-officedocument.presentationml.tags+xml"/>
  <Override PartName="/ppt/charts/chart328.xml" ContentType="application/vnd.openxmlformats-officedocument.drawingml.chart+xml"/>
  <Override PartName="/ppt/tags/tag286.xml" ContentType="application/vnd.openxmlformats-officedocument.presentationml.tags+xml"/>
  <Override PartName="/ppt/charts/chart329.xml" ContentType="application/vnd.openxmlformats-officedocument.drawingml.chart+xml"/>
  <Override PartName="/ppt/tags/tag287.xml" ContentType="application/vnd.openxmlformats-officedocument.presentationml.tags+xml"/>
  <Override PartName="/ppt/charts/chart330.xml" ContentType="application/vnd.openxmlformats-officedocument.drawingml.chart+xml"/>
  <Override PartName="/ppt/tags/tag288.xml" ContentType="application/vnd.openxmlformats-officedocument.presentationml.tags+xml"/>
  <Override PartName="/ppt/charts/chart331.xml" ContentType="application/vnd.openxmlformats-officedocument.drawingml.chart+xml"/>
  <Override PartName="/ppt/tags/tag289.xml" ContentType="application/vnd.openxmlformats-officedocument.presentationml.tags+xml"/>
  <Override PartName="/ppt/charts/chart332.xml" ContentType="application/vnd.openxmlformats-officedocument.drawingml.chart+xml"/>
  <Override PartName="/ppt/tags/tag290.xml" ContentType="application/vnd.openxmlformats-officedocument.presentationml.tags+xml"/>
  <Override PartName="/ppt/charts/chart333.xml" ContentType="application/vnd.openxmlformats-officedocument.drawingml.chart+xml"/>
  <Override PartName="/ppt/tags/tag291.xml" ContentType="application/vnd.openxmlformats-officedocument.presentationml.tags+xml"/>
  <Override PartName="/ppt/charts/chart334.xml" ContentType="application/vnd.openxmlformats-officedocument.drawingml.chart+xml"/>
  <Override PartName="/ppt/tags/tag292.xml" ContentType="application/vnd.openxmlformats-officedocument.presentationml.tags+xml"/>
  <Override PartName="/ppt/charts/chart335.xml" ContentType="application/vnd.openxmlformats-officedocument.drawingml.chart+xml"/>
  <Override PartName="/ppt/tags/tag293.xml" ContentType="application/vnd.openxmlformats-officedocument.presentationml.tags+xml"/>
  <Override PartName="/ppt/charts/chart336.xml" ContentType="application/vnd.openxmlformats-officedocument.drawingml.chart+xml"/>
  <Override PartName="/ppt/tags/tag294.xml" ContentType="application/vnd.openxmlformats-officedocument.presentationml.tags+xml"/>
  <Override PartName="/ppt/notesSlides/notesSlide1.xml" ContentType="application/vnd.openxmlformats-officedocument.presentationml.notesSlide+xml"/>
  <Override PartName="/ppt/tags/tag295.xml" ContentType="application/vnd.openxmlformats-officedocument.presentationml.tags+xml"/>
  <Override PartName="/ppt/notesSlides/notesSlide2.xml" ContentType="application/vnd.openxmlformats-officedocument.presentationml.notesSlide+xml"/>
  <Override PartName="/ppt/tags/tag296.xml" ContentType="application/vnd.openxmlformats-officedocument.presentationml.tags+xml"/>
  <Override PartName="/ppt/notesSlides/notesSlide3.xml" ContentType="application/vnd.openxmlformats-officedocument.presentationml.notesSlide+xml"/>
  <Override PartName="/ppt/tags/tag297.xml" ContentType="application/vnd.openxmlformats-officedocument.presentationml.tags+xml"/>
  <Override PartName="/ppt/notesSlides/notesSlide4.xml" ContentType="application/vnd.openxmlformats-officedocument.presentationml.notesSlide+xml"/>
  <Override PartName="/ppt/tags/tag298.xml" ContentType="application/vnd.openxmlformats-officedocument.presentationml.tags+xml"/>
  <Override PartName="/ppt/notesSlides/notesSlide5.xml" ContentType="application/vnd.openxmlformats-officedocument.presentationml.notesSlide+xml"/>
  <Override PartName="/ppt/tags/tag299.xml" ContentType="application/vnd.openxmlformats-officedocument.presentationml.tags+xml"/>
  <Override PartName="/ppt/notesSlides/notesSlide6.xml" ContentType="application/vnd.openxmlformats-officedocument.presentationml.notesSlide+xml"/>
  <Override PartName="/ppt/tags/tag300.xml" ContentType="application/vnd.openxmlformats-officedocument.presentationml.tags+xml"/>
  <Override PartName="/ppt/notesSlides/notesSlide7.xml" ContentType="application/vnd.openxmlformats-officedocument.presentationml.notesSlide+xml"/>
  <Override PartName="/ppt/tags/tag301.xml" ContentType="application/vnd.openxmlformats-officedocument.presentationml.tags+xml"/>
  <Override PartName="/ppt/notesSlides/notesSlide8.xml" ContentType="application/vnd.openxmlformats-officedocument.presentationml.notesSlide+xml"/>
  <Override PartName="/ppt/tags/tag302.xml" ContentType="application/vnd.openxmlformats-officedocument.presentationml.tags+xml"/>
  <Override PartName="/ppt/notesSlides/notesSlide9.xml" ContentType="application/vnd.openxmlformats-officedocument.presentationml.notesSlide+xml"/>
  <Override PartName="/ppt/tags/tag303.xml" ContentType="application/vnd.openxmlformats-officedocument.presentationml.tags+xml"/>
  <Override PartName="/ppt/notesSlides/notesSlide10.xml" ContentType="application/vnd.openxmlformats-officedocument.presentationml.notesSlide+xml"/>
  <Override PartName="/ppt/tags/tag304.xml" ContentType="application/vnd.openxmlformats-officedocument.presentationml.tags+xml"/>
  <Override PartName="/ppt/notesSlides/notesSlide11.xml" ContentType="application/vnd.openxmlformats-officedocument.presentationml.notesSlide+xml"/>
  <Override PartName="/ppt/tags/tag305.xml" ContentType="application/vnd.openxmlformats-officedocument.presentationml.tags+xml"/>
  <Override PartName="/ppt/notesSlides/notesSlide12.xml" ContentType="application/vnd.openxmlformats-officedocument.presentationml.notesSlide+xml"/>
  <Override PartName="/ppt/tags/tag306.xml" ContentType="application/vnd.openxmlformats-officedocument.presentationml.tags+xml"/>
  <Override PartName="/ppt/notesSlides/notesSlide13.xml" ContentType="application/vnd.openxmlformats-officedocument.presentationml.notesSlide+xml"/>
  <Override PartName="/ppt/tags/tag307.xml" ContentType="application/vnd.openxmlformats-officedocument.presentationml.tags+xml"/>
  <Override PartName="/ppt/notesSlides/notesSlide14.xml" ContentType="application/vnd.openxmlformats-officedocument.presentationml.notesSlide+xml"/>
  <Override PartName="/ppt/tags/tag308.xml" ContentType="application/vnd.openxmlformats-officedocument.presentationml.tags+xml"/>
  <Override PartName="/ppt/notesSlides/notesSlide15.xml" ContentType="application/vnd.openxmlformats-officedocument.presentationml.notesSlide+xml"/>
  <Override PartName="/ppt/tags/tag309.xml" ContentType="application/vnd.openxmlformats-officedocument.presentationml.tags+xml"/>
  <Override PartName="/ppt/notesSlides/notesSlide16.xml" ContentType="application/vnd.openxmlformats-officedocument.presentationml.notesSlide+xml"/>
  <Override PartName="/ppt/tags/tag310.xml" ContentType="application/vnd.openxmlformats-officedocument.presentationml.tags+xml"/>
  <Override PartName="/ppt/notesSlides/notesSlide17.xml" ContentType="application/vnd.openxmlformats-officedocument.presentationml.notesSlide+xml"/>
  <Override PartName="/ppt/tags/tag311.xml" ContentType="application/vnd.openxmlformats-officedocument.presentationml.tags+xml"/>
  <Override PartName="/ppt/notesSlides/notesSlide18.xml" ContentType="application/vnd.openxmlformats-officedocument.presentationml.notesSlide+xml"/>
  <Override PartName="/ppt/tags/tag312.xml" ContentType="application/vnd.openxmlformats-officedocument.presentationml.tags+xml"/>
  <Override PartName="/ppt/notesSlides/notesSlide19.xml" ContentType="application/vnd.openxmlformats-officedocument.presentationml.notesSlide+xml"/>
  <Override PartName="/ppt/tags/tag313.xml" ContentType="application/vnd.openxmlformats-officedocument.presentationml.tags+xml"/>
  <Override PartName="/ppt/notesSlides/notesSlide20.xml" ContentType="application/vnd.openxmlformats-officedocument.presentationml.notesSlide+xml"/>
  <Override PartName="/ppt/tags/tag314.xml" ContentType="application/vnd.openxmlformats-officedocument.presentationml.tags+xml"/>
  <Override PartName="/ppt/notesSlides/notesSlide21.xml" ContentType="application/vnd.openxmlformats-officedocument.presentationml.notesSlide+xml"/>
  <Override PartName="/ppt/tags/tag315.xml" ContentType="application/vnd.openxmlformats-officedocument.presentationml.tags+xml"/>
  <Override PartName="/ppt/notesSlides/notesSlide22.xml" ContentType="application/vnd.openxmlformats-officedocument.presentationml.notesSlide+xml"/>
  <Override PartName="/ppt/tags/tag316.xml" ContentType="application/vnd.openxmlformats-officedocument.presentationml.tags+xml"/>
  <Override PartName="/ppt/notesSlides/notesSlide23.xml" ContentType="application/vnd.openxmlformats-officedocument.presentationml.notesSlide+xml"/>
  <Override PartName="/ppt/tags/tag317.xml" ContentType="application/vnd.openxmlformats-officedocument.presentationml.tags+xml"/>
  <Override PartName="/ppt/notesSlides/notesSlide24.xml" ContentType="application/vnd.openxmlformats-officedocument.presentationml.notesSlide+xml"/>
  <Override PartName="/ppt/tags/tag318.xml" ContentType="application/vnd.openxmlformats-officedocument.presentationml.tags+xml"/>
  <Override PartName="/ppt/notesSlides/notesSlide25.xml" ContentType="application/vnd.openxmlformats-officedocument.presentationml.notesSlide+xml"/>
  <Override PartName="/ppt/tags/tag319.xml" ContentType="application/vnd.openxmlformats-officedocument.presentationml.tags+xml"/>
  <Override PartName="/ppt/notesSlides/notesSlide26.xml" ContentType="application/vnd.openxmlformats-officedocument.presentationml.notesSlide+xml"/>
  <Override PartName="/ppt/tags/tag320.xml" ContentType="application/vnd.openxmlformats-officedocument.presentationml.tags+xml"/>
  <Override PartName="/ppt/notesSlides/notesSlide27.xml" ContentType="application/vnd.openxmlformats-officedocument.presentationml.notesSlide+xml"/>
  <Override PartName="/ppt/tags/tag321.xml" ContentType="application/vnd.openxmlformats-officedocument.presentationml.tags+xml"/>
  <Override PartName="/ppt/notesSlides/notesSlide28.xml" ContentType="application/vnd.openxmlformats-officedocument.presentationml.notesSlide+xml"/>
  <Override PartName="/ppt/tags/tag322.xml" ContentType="application/vnd.openxmlformats-officedocument.presentationml.tags+xml"/>
  <Override PartName="/ppt/notesSlides/notesSlide29.xml" ContentType="application/vnd.openxmlformats-officedocument.presentationml.notesSlide+xml"/>
  <Override PartName="/ppt/tags/tag323.xml" ContentType="application/vnd.openxmlformats-officedocument.presentationml.tags+xml"/>
  <Override PartName="/ppt/notesSlides/notesSlide30.xml" ContentType="application/vnd.openxmlformats-officedocument.presentationml.notesSlide+xml"/>
  <Override PartName="/ppt/tags/tag324.xml" ContentType="application/vnd.openxmlformats-officedocument.presentationml.tags+xml"/>
  <Override PartName="/ppt/notesSlides/notesSlide31.xml" ContentType="application/vnd.openxmlformats-officedocument.presentationml.notesSlide+xml"/>
  <Override PartName="/ppt/tags/tag325.xml" ContentType="application/vnd.openxmlformats-officedocument.presentationml.tags+xml"/>
  <Override PartName="/ppt/notesSlides/notesSlide32.xml" ContentType="application/vnd.openxmlformats-officedocument.presentationml.notesSlide+xml"/>
  <Override PartName="/ppt/tags/tag326.xml" ContentType="application/vnd.openxmlformats-officedocument.presentationml.tags+xml"/>
  <Override PartName="/ppt/notesSlides/notesSlide33.xml" ContentType="application/vnd.openxmlformats-officedocument.presentationml.notesSlide+xml"/>
  <Override PartName="/ppt/tags/tag327.xml" ContentType="application/vnd.openxmlformats-officedocument.presentationml.tags+xml"/>
  <Override PartName="/ppt/notesSlides/notesSlide34.xml" ContentType="application/vnd.openxmlformats-officedocument.presentationml.notesSlide+xml"/>
  <Override PartName="/ppt/tags/tag328.xml" ContentType="application/vnd.openxmlformats-officedocument.presentationml.tags+xml"/>
  <Override PartName="/ppt/notesSlides/notesSlide35.xml" ContentType="application/vnd.openxmlformats-officedocument.presentationml.notesSlide+xml"/>
  <Override PartName="/ppt/tags/tag329.xml" ContentType="application/vnd.openxmlformats-officedocument.presentationml.tags+xml"/>
  <Override PartName="/ppt/notesSlides/notesSlide36.xml" ContentType="application/vnd.openxmlformats-officedocument.presentationml.notesSlide+xml"/>
  <Override PartName="/ppt/tags/tag330.xml" ContentType="application/vnd.openxmlformats-officedocument.presentationml.tags+xml"/>
  <Override PartName="/ppt/notesSlides/notesSlide37.xml" ContentType="application/vnd.openxmlformats-officedocument.presentationml.notesSlide+xml"/>
  <Override PartName="/ppt/tags/tag331.xml" ContentType="application/vnd.openxmlformats-officedocument.presentationml.tags+xml"/>
  <Override PartName="/ppt/notesSlides/notesSlide38.xml" ContentType="application/vnd.openxmlformats-officedocument.presentationml.notesSlide+xml"/>
  <Override PartName="/ppt/tags/tag332.xml" ContentType="application/vnd.openxmlformats-officedocument.presentationml.tags+xml"/>
  <Override PartName="/ppt/notesSlides/notesSlide39.xml" ContentType="application/vnd.openxmlformats-officedocument.presentationml.notesSlide+xml"/>
  <Override PartName="/ppt/tags/tag333.xml" ContentType="application/vnd.openxmlformats-officedocument.presentationml.tags+xml"/>
  <Override PartName="/ppt/notesSlides/notesSlide40.xml" ContentType="application/vnd.openxmlformats-officedocument.presentationml.notesSlide+xml"/>
  <Override PartName="/ppt/tags/tag334.xml" ContentType="application/vnd.openxmlformats-officedocument.presentationml.tags+xml"/>
  <Override PartName="/ppt/notesSlides/notesSlide41.xml" ContentType="application/vnd.openxmlformats-officedocument.presentationml.notesSlide+xml"/>
  <Override PartName="/ppt/tags/tag335.xml" ContentType="application/vnd.openxmlformats-officedocument.presentationml.tags+xml"/>
  <Override PartName="/ppt/notesSlides/notesSlide42.xml" ContentType="application/vnd.openxmlformats-officedocument.presentationml.notesSlide+xml"/>
  <Override PartName="/ppt/tags/tag336.xml" ContentType="application/vnd.openxmlformats-officedocument.presentationml.tags+xml"/>
  <Override PartName="/ppt/notesSlides/notesSlide43.xml" ContentType="application/vnd.openxmlformats-officedocument.presentationml.notesSlide+xml"/>
  <Override PartName="/ppt/tags/tag337.xml" ContentType="application/vnd.openxmlformats-officedocument.presentationml.tags+xml"/>
  <Override PartName="/ppt/notesSlides/notesSlide44.xml" ContentType="application/vnd.openxmlformats-officedocument.presentationml.notesSlide+xml"/>
  <Override PartName="/ppt/tags/tag338.xml" ContentType="application/vnd.openxmlformats-officedocument.presentationml.tags+xml"/>
  <Override PartName="/ppt/notesSlides/notesSlide45.xml" ContentType="application/vnd.openxmlformats-officedocument.presentationml.notesSlide+xml"/>
  <Override PartName="/ppt/tags/tag339.xml" ContentType="application/vnd.openxmlformats-officedocument.presentationml.tags+xml"/>
  <Override PartName="/ppt/notesSlides/notesSlide46.xml" ContentType="application/vnd.openxmlformats-officedocument.presentationml.notesSlide+xml"/>
  <Override PartName="/ppt/tags/tag340.xml" ContentType="application/vnd.openxmlformats-officedocument.presentationml.tags+xml"/>
  <Override PartName="/ppt/notesSlides/notesSlide47.xml" ContentType="application/vnd.openxmlformats-officedocument.presentationml.notesSlide+xml"/>
  <Override PartName="/ppt/tags/tag341.xml" ContentType="application/vnd.openxmlformats-officedocument.presentationml.tags+xml"/>
  <Override PartName="/ppt/notesSlides/notesSlide48.xml" ContentType="application/vnd.openxmlformats-officedocument.presentationml.notesSlide+xml"/>
  <Override PartName="/ppt/tags/tag342.xml" ContentType="application/vnd.openxmlformats-officedocument.presentationml.tags+xml"/>
  <Override PartName="/ppt/notesSlides/notesSlide49.xml" ContentType="application/vnd.openxmlformats-officedocument.presentationml.notesSlide+xml"/>
  <Override PartName="/ppt/tags/tag343.xml" ContentType="application/vnd.openxmlformats-officedocument.presentationml.tags+xml"/>
  <Override PartName="/ppt/notesSlides/notesSlide50.xml" ContentType="application/vnd.openxmlformats-officedocument.presentationml.notesSlide+xml"/>
  <Override PartName="/ppt/tags/tag344.xml" ContentType="application/vnd.openxmlformats-officedocument.presentationml.tags+xml"/>
  <Override PartName="/ppt/notesSlides/notesSlide51.xml" ContentType="application/vnd.openxmlformats-officedocument.presentationml.notesSlide+xml"/>
  <Override PartName="/ppt/tags/tag345.xml" ContentType="application/vnd.openxmlformats-officedocument.presentationml.tags+xml"/>
  <Override PartName="/ppt/notesSlides/notesSlide52.xml" ContentType="application/vnd.openxmlformats-officedocument.presentationml.notesSlide+xml"/>
  <Override PartName="/ppt/tags/tag346.xml" ContentType="application/vnd.openxmlformats-officedocument.presentationml.tags+xml"/>
  <Override PartName="/ppt/notesSlides/notesSlide53.xml" ContentType="application/vnd.openxmlformats-officedocument.presentationml.notesSlide+xml"/>
  <Override PartName="/ppt/tags/tag347.xml" ContentType="application/vnd.openxmlformats-officedocument.presentationml.tags+xml"/>
  <Override PartName="/ppt/notesSlides/notesSlide54.xml" ContentType="application/vnd.openxmlformats-officedocument.presentationml.notesSlide+xml"/>
  <Override PartName="/ppt/tags/tag348.xml" ContentType="application/vnd.openxmlformats-officedocument.presentationml.tags+xml"/>
  <Override PartName="/ppt/notesSlides/notesSlide55.xml" ContentType="application/vnd.openxmlformats-officedocument.presentationml.notesSlide+xml"/>
  <Override PartName="/ppt/tags/tag349.xml" ContentType="application/vnd.openxmlformats-officedocument.presentationml.tags+xml"/>
  <Override PartName="/ppt/notesSlides/notesSlide56.xml" ContentType="application/vnd.openxmlformats-officedocument.presentationml.notesSlide+xml"/>
  <Override PartName="/ppt/tags/tag350.xml" ContentType="application/vnd.openxmlformats-officedocument.presentationml.tags+xml"/>
  <Override PartName="/ppt/notesSlides/notesSlide57.xml" ContentType="application/vnd.openxmlformats-officedocument.presentationml.notesSlide+xml"/>
  <Override PartName="/ppt/charts/chart337.xml" ContentType="application/vnd.openxmlformats-officedocument.drawingml.chart+xml"/>
  <Override PartName="/ppt/charts/style1.xml" ContentType="application/vnd.ms-office.chartstyle+xml"/>
  <Override PartName="/ppt/charts/colors1.xml" ContentType="application/vnd.ms-office.chartcolorstyle+xml"/>
  <Override PartName="/ppt/tags/tag351.xml" ContentType="application/vnd.openxmlformats-officedocument.presentationml.tags+xml"/>
  <Override PartName="/ppt/notesSlides/notesSlide58.xml" ContentType="application/vnd.openxmlformats-officedocument.presentationml.notesSlide+xml"/>
  <Override PartName="/ppt/charts/chart338.xml" ContentType="application/vnd.openxmlformats-officedocument.drawingml.chart+xml"/>
  <Override PartName="/ppt/charts/style2.xml" ContentType="application/vnd.ms-office.chartstyle+xml"/>
  <Override PartName="/ppt/charts/colors2.xml" ContentType="application/vnd.ms-office.chartcolorstyle+xml"/>
  <Override PartName="/ppt/tags/tag352.xml" ContentType="application/vnd.openxmlformats-officedocument.presentationml.tags+xml"/>
  <Override PartName="/ppt/notesSlides/notesSlide59.xml" ContentType="application/vnd.openxmlformats-officedocument.presentationml.notesSlide+xml"/>
  <Override PartName="/ppt/charts/chart339.xml" ContentType="application/vnd.openxmlformats-officedocument.drawingml.chart+xml"/>
  <Override PartName="/ppt/charts/style3.xml" ContentType="application/vnd.ms-office.chartstyle+xml"/>
  <Override PartName="/ppt/charts/colors3.xml" ContentType="application/vnd.ms-office.chartcolorstyle+xml"/>
  <Override PartName="/ppt/tags/tag353.xml" ContentType="application/vnd.openxmlformats-officedocument.presentationml.tags+xml"/>
  <Override PartName="/ppt/notesSlides/notesSlide60.xml" ContentType="application/vnd.openxmlformats-officedocument.presentationml.notesSlide+xml"/>
  <Override PartName="/ppt/charts/chart340.xml" ContentType="application/vnd.openxmlformats-officedocument.drawingml.chart+xml"/>
  <Override PartName="/ppt/charts/style4.xml" ContentType="application/vnd.ms-office.chartstyle+xml"/>
  <Override PartName="/ppt/charts/colors4.xml" ContentType="application/vnd.ms-office.chartcolorstyle+xml"/>
  <Override PartName="/ppt/tags/tag354.xml" ContentType="application/vnd.openxmlformats-officedocument.presentationml.tags+xml"/>
  <Override PartName="/ppt/notesSlides/notesSlide61.xml" ContentType="application/vnd.openxmlformats-officedocument.presentationml.notesSlide+xml"/>
  <Override PartName="/ppt/charts/chart341.xml" ContentType="application/vnd.openxmlformats-officedocument.drawingml.chart+xml"/>
  <Override PartName="/ppt/charts/style5.xml" ContentType="application/vnd.ms-office.chartstyle+xml"/>
  <Override PartName="/ppt/charts/colors5.xml" ContentType="application/vnd.ms-office.chartcolorstyle+xml"/>
  <Override PartName="/ppt/tags/tag355.xml" ContentType="application/vnd.openxmlformats-officedocument.presentationml.tags+xml"/>
  <Override PartName="/ppt/notesSlides/notesSlide62.xml" ContentType="application/vnd.openxmlformats-officedocument.presentationml.notesSlide+xml"/>
  <Override PartName="/ppt/charts/chart342.xml" ContentType="application/vnd.openxmlformats-officedocument.drawingml.chart+xml"/>
  <Override PartName="/ppt/charts/style6.xml" ContentType="application/vnd.ms-office.chartstyle+xml"/>
  <Override PartName="/ppt/charts/colors6.xml" ContentType="application/vnd.ms-office.chartcolorstyle+xml"/>
  <Override PartName="/ppt/tags/tag356.xml" ContentType="application/vnd.openxmlformats-officedocument.presentationml.tags+xml"/>
  <Override PartName="/ppt/notesSlides/notesSlide63.xml" ContentType="application/vnd.openxmlformats-officedocument.presentationml.notesSlide+xml"/>
  <Override PartName="/ppt/charts/chart343.xml" ContentType="application/vnd.openxmlformats-officedocument.drawingml.chart+xml"/>
  <Override PartName="/ppt/charts/style7.xml" ContentType="application/vnd.ms-office.chartstyle+xml"/>
  <Override PartName="/ppt/charts/colors7.xml" ContentType="application/vnd.ms-office.chartcolorstyle+xml"/>
  <Override PartName="/ppt/tags/tag357.xml" ContentType="application/vnd.openxmlformats-officedocument.presentationml.tags+xml"/>
  <Override PartName="/ppt/notesSlides/notesSlide64.xml" ContentType="application/vnd.openxmlformats-officedocument.presentationml.notesSlide+xml"/>
  <Override PartName="/ppt/charts/chart344.xml" ContentType="application/vnd.openxmlformats-officedocument.drawingml.chart+xml"/>
  <Override PartName="/ppt/charts/style8.xml" ContentType="application/vnd.ms-office.chartstyle+xml"/>
  <Override PartName="/ppt/charts/colors8.xml" ContentType="application/vnd.ms-office.chartcolorstyle+xml"/>
  <Override PartName="/ppt/tags/tag358.xml" ContentType="application/vnd.openxmlformats-officedocument.presentationml.tags+xml"/>
  <Override PartName="/ppt/notesSlides/notesSlide65.xml" ContentType="application/vnd.openxmlformats-officedocument.presentationml.notesSlide+xml"/>
  <Override PartName="/ppt/charts/chart345.xml" ContentType="application/vnd.openxmlformats-officedocument.drawingml.chart+xml"/>
  <Override PartName="/ppt/charts/style9.xml" ContentType="application/vnd.ms-office.chartstyle+xml"/>
  <Override PartName="/ppt/charts/colors9.xml" ContentType="application/vnd.ms-office.chartcolorstyle+xml"/>
  <Override PartName="/ppt/tags/tag359.xml" ContentType="application/vnd.openxmlformats-officedocument.presentationml.tags+xml"/>
  <Override PartName="/ppt/notesSlides/notesSlide66.xml" ContentType="application/vnd.openxmlformats-officedocument.presentationml.notesSlide+xml"/>
  <Override PartName="/ppt/charts/chart346.xml" ContentType="application/vnd.openxmlformats-officedocument.drawingml.chart+xml"/>
  <Override PartName="/ppt/charts/style10.xml" ContentType="application/vnd.ms-office.chartstyle+xml"/>
  <Override PartName="/ppt/charts/colors10.xml" ContentType="application/vnd.ms-office.chartcolorstyle+xml"/>
  <Override PartName="/ppt/tags/tag360.xml" ContentType="application/vnd.openxmlformats-officedocument.presentationml.tags+xml"/>
  <Override PartName="/ppt/notesSlides/notesSlide67.xml" ContentType="application/vnd.openxmlformats-officedocument.presentationml.notesSlide+xml"/>
  <Override PartName="/ppt/charts/chart347.xml" ContentType="application/vnd.openxmlformats-officedocument.drawingml.chart+xml"/>
  <Override PartName="/ppt/charts/style11.xml" ContentType="application/vnd.ms-office.chartstyle+xml"/>
  <Override PartName="/ppt/charts/colors11.xml" ContentType="application/vnd.ms-office.chartcolorstyle+xml"/>
  <Override PartName="/ppt/tags/tag361.xml" ContentType="application/vnd.openxmlformats-officedocument.presentationml.tags+xml"/>
  <Override PartName="/ppt/notesSlides/notesSlide68.xml" ContentType="application/vnd.openxmlformats-officedocument.presentationml.notesSlide+xml"/>
  <Override PartName="/ppt/charts/chart348.xml" ContentType="application/vnd.openxmlformats-officedocument.drawingml.chart+xml"/>
  <Override PartName="/ppt/charts/style12.xml" ContentType="application/vnd.ms-office.chartstyle+xml"/>
  <Override PartName="/ppt/charts/colors12.xml" ContentType="application/vnd.ms-office.chartcolorstyle+xml"/>
  <Override PartName="/ppt/tags/tag362.xml" ContentType="application/vnd.openxmlformats-officedocument.presentationml.tags+xml"/>
  <Override PartName="/ppt/notesSlides/notesSlide69.xml" ContentType="application/vnd.openxmlformats-officedocument.presentationml.notesSlide+xml"/>
  <Override PartName="/ppt/charts/chart349.xml" ContentType="application/vnd.openxmlformats-officedocument.drawingml.chart+xml"/>
  <Override PartName="/ppt/charts/style13.xml" ContentType="application/vnd.ms-office.chartstyle+xml"/>
  <Override PartName="/ppt/charts/colors13.xml" ContentType="application/vnd.ms-office.chartcolorstyle+xml"/>
  <Override PartName="/ppt/tags/tag363.xml" ContentType="application/vnd.openxmlformats-officedocument.presentationml.tags+xml"/>
  <Override PartName="/ppt/notesSlides/notesSlide70.xml" ContentType="application/vnd.openxmlformats-officedocument.presentationml.notesSlide+xml"/>
  <Override PartName="/ppt/charts/chart350.xml" ContentType="application/vnd.openxmlformats-officedocument.drawingml.chart+xml"/>
  <Override PartName="/ppt/charts/style14.xml" ContentType="application/vnd.ms-office.chartstyle+xml"/>
  <Override PartName="/ppt/charts/colors14.xml" ContentType="application/vnd.ms-office.chartcolorstyle+xml"/>
  <Override PartName="/ppt/tags/tag364.xml" ContentType="application/vnd.openxmlformats-officedocument.presentationml.tags+xml"/>
  <Override PartName="/ppt/notesSlides/notesSlide71.xml" ContentType="application/vnd.openxmlformats-officedocument.presentationml.notesSlide+xml"/>
  <Override PartName="/ppt/charts/chart351.xml" ContentType="application/vnd.openxmlformats-officedocument.drawingml.chart+xml"/>
  <Override PartName="/ppt/charts/style15.xml" ContentType="application/vnd.ms-office.chartstyle+xml"/>
  <Override PartName="/ppt/charts/colors15.xml" ContentType="application/vnd.ms-office.chartcolorstyle+xml"/>
  <Override PartName="/ppt/tags/tag365.xml" ContentType="application/vnd.openxmlformats-officedocument.presentationml.tags+xml"/>
  <Override PartName="/ppt/notesSlides/notesSlide72.xml" ContentType="application/vnd.openxmlformats-officedocument.presentationml.notesSlide+xml"/>
  <Override PartName="/ppt/charts/chart352.xml" ContentType="application/vnd.openxmlformats-officedocument.drawingml.chart+xml"/>
  <Override PartName="/ppt/charts/style16.xml" ContentType="application/vnd.ms-office.chartstyle+xml"/>
  <Override PartName="/ppt/charts/colors16.xml" ContentType="application/vnd.ms-office.chartcolorstyle+xml"/>
  <Override PartName="/ppt/tags/tag366.xml" ContentType="application/vnd.openxmlformats-officedocument.presentationml.tags+xml"/>
  <Override PartName="/ppt/notesSlides/notesSlide73.xml" ContentType="application/vnd.openxmlformats-officedocument.presentationml.notesSlide+xml"/>
  <Override PartName="/ppt/charts/chart353.xml" ContentType="application/vnd.openxmlformats-officedocument.drawingml.chart+xml"/>
  <Override PartName="/ppt/charts/style17.xml" ContentType="application/vnd.ms-office.chartstyle+xml"/>
  <Override PartName="/ppt/charts/colors17.xml" ContentType="application/vnd.ms-office.chartcolorstyle+xml"/>
  <Override PartName="/ppt/tags/tag367.xml" ContentType="application/vnd.openxmlformats-officedocument.presentationml.tags+xml"/>
  <Override PartName="/ppt/notesSlides/notesSlide74.xml" ContentType="application/vnd.openxmlformats-officedocument.presentationml.notesSlide+xml"/>
  <Override PartName="/ppt/charts/chart354.xml" ContentType="application/vnd.openxmlformats-officedocument.drawingml.chart+xml"/>
  <Override PartName="/ppt/charts/style18.xml" ContentType="application/vnd.ms-office.chartstyle+xml"/>
  <Override PartName="/ppt/charts/colors18.xml" ContentType="application/vnd.ms-office.chartcolorstyle+xml"/>
  <Override PartName="/ppt/tags/tag368.xml" ContentType="application/vnd.openxmlformats-officedocument.presentationml.tags+xml"/>
  <Override PartName="/ppt/notesSlides/notesSlide75.xml" ContentType="application/vnd.openxmlformats-officedocument.presentationml.notesSlide+xml"/>
  <Override PartName="/ppt/charts/chart355.xml" ContentType="application/vnd.openxmlformats-officedocument.drawingml.chart+xml"/>
  <Override PartName="/ppt/charts/style19.xml" ContentType="application/vnd.ms-office.chartstyle+xml"/>
  <Override PartName="/ppt/charts/colors19.xml" ContentType="application/vnd.ms-office.chartcolorstyle+xml"/>
  <Override PartName="/ppt/tags/tag369.xml" ContentType="application/vnd.openxmlformats-officedocument.presentationml.tags+xml"/>
  <Override PartName="/ppt/notesSlides/notesSlide76.xml" ContentType="application/vnd.openxmlformats-officedocument.presentationml.notesSlide+xml"/>
  <Override PartName="/ppt/charts/chart356.xml" ContentType="application/vnd.openxmlformats-officedocument.drawingml.chart+xml"/>
  <Override PartName="/ppt/charts/style20.xml" ContentType="application/vnd.ms-office.chartstyle+xml"/>
  <Override PartName="/ppt/charts/colors20.xml" ContentType="application/vnd.ms-office.chartcolorstyle+xml"/>
  <Override PartName="/ppt/tags/tag370.xml" ContentType="application/vnd.openxmlformats-officedocument.presentationml.tags+xml"/>
  <Override PartName="/ppt/notesSlides/notesSlide77.xml" ContentType="application/vnd.openxmlformats-officedocument.presentationml.notesSlide+xml"/>
  <Override PartName="/ppt/charts/chart357.xml" ContentType="application/vnd.openxmlformats-officedocument.drawingml.chart+xml"/>
  <Override PartName="/ppt/charts/style21.xml" ContentType="application/vnd.ms-office.chartstyle+xml"/>
  <Override PartName="/ppt/charts/colors21.xml" ContentType="application/vnd.ms-office.chartcolorstyle+xml"/>
  <Override PartName="/ppt/tags/tag371.xml" ContentType="application/vnd.openxmlformats-officedocument.presentationml.tags+xml"/>
  <Override PartName="/ppt/notesSlides/notesSlide78.xml" ContentType="application/vnd.openxmlformats-officedocument.presentationml.notesSlide+xml"/>
  <Override PartName="/ppt/charts/chart358.xml" ContentType="application/vnd.openxmlformats-officedocument.drawingml.chart+xml"/>
  <Override PartName="/ppt/charts/style22.xml" ContentType="application/vnd.ms-office.chartstyle+xml"/>
  <Override PartName="/ppt/charts/colors22.xml" ContentType="application/vnd.ms-office.chartcolorstyle+xml"/>
  <Override PartName="/ppt/tags/tag372.xml" ContentType="application/vnd.openxmlformats-officedocument.presentationml.tags+xml"/>
  <Override PartName="/ppt/notesSlides/notesSlide79.xml" ContentType="application/vnd.openxmlformats-officedocument.presentationml.notesSlide+xml"/>
  <Override PartName="/ppt/charts/chart359.xml" ContentType="application/vnd.openxmlformats-officedocument.drawingml.chart+xml"/>
  <Override PartName="/ppt/charts/style23.xml" ContentType="application/vnd.ms-office.chartstyle+xml"/>
  <Override PartName="/ppt/charts/colors23.xml" ContentType="application/vnd.ms-office.chartcolorstyle+xml"/>
  <Override PartName="/ppt/tags/tag373.xml" ContentType="application/vnd.openxmlformats-officedocument.presentationml.tags+xml"/>
  <Override PartName="/ppt/notesSlides/notesSlide80.xml" ContentType="application/vnd.openxmlformats-officedocument.presentationml.notesSlide+xml"/>
  <Override PartName="/ppt/charts/chart360.xml" ContentType="application/vnd.openxmlformats-officedocument.drawingml.chart+xml"/>
  <Override PartName="/ppt/charts/style24.xml" ContentType="application/vnd.ms-office.chartstyle+xml"/>
  <Override PartName="/ppt/charts/colors24.xml" ContentType="application/vnd.ms-office.chartcolorstyle+xml"/>
  <Override PartName="/ppt/tags/tag374.xml" ContentType="application/vnd.openxmlformats-officedocument.presentationml.tags+xml"/>
  <Override PartName="/ppt/notesSlides/notesSlide81.xml" ContentType="application/vnd.openxmlformats-officedocument.presentationml.notesSlide+xml"/>
  <Override PartName="/ppt/charts/chart361.xml" ContentType="application/vnd.openxmlformats-officedocument.drawingml.chart+xml"/>
  <Override PartName="/ppt/charts/style25.xml" ContentType="application/vnd.ms-office.chartstyle+xml"/>
  <Override PartName="/ppt/charts/colors25.xml" ContentType="application/vnd.ms-office.chartcolorstyle+xml"/>
  <Override PartName="/ppt/tags/tag375.xml" ContentType="application/vnd.openxmlformats-officedocument.presentationml.tags+xml"/>
  <Override PartName="/ppt/notesSlides/notesSlide82.xml" ContentType="application/vnd.openxmlformats-officedocument.presentationml.notesSlide+xml"/>
  <Override PartName="/ppt/charts/chart362.xml" ContentType="application/vnd.openxmlformats-officedocument.drawingml.chart+xml"/>
  <Override PartName="/ppt/charts/style26.xml" ContentType="application/vnd.ms-office.chartstyle+xml"/>
  <Override PartName="/ppt/charts/colors26.xml" ContentType="application/vnd.ms-office.chartcolorstyle+xml"/>
  <Override PartName="/ppt/tags/tag376.xml" ContentType="application/vnd.openxmlformats-officedocument.presentationml.tags+xml"/>
  <Override PartName="/ppt/notesSlides/notesSlide83.xml" ContentType="application/vnd.openxmlformats-officedocument.presentationml.notesSlide+xml"/>
  <Override PartName="/ppt/charts/chart363.xml" ContentType="application/vnd.openxmlformats-officedocument.drawingml.chart+xml"/>
  <Override PartName="/ppt/charts/style27.xml" ContentType="application/vnd.ms-office.chartstyle+xml"/>
  <Override PartName="/ppt/charts/colors27.xml" ContentType="application/vnd.ms-office.chartcolorstyle+xml"/>
  <Override PartName="/ppt/tags/tag377.xml" ContentType="application/vnd.openxmlformats-officedocument.presentationml.tags+xml"/>
  <Override PartName="/ppt/notesSlides/notesSlide84.xml" ContentType="application/vnd.openxmlformats-officedocument.presentationml.notesSlide+xml"/>
  <Override PartName="/ppt/charts/chart364.xml" ContentType="application/vnd.openxmlformats-officedocument.drawingml.chart+xml"/>
  <Override PartName="/ppt/charts/style28.xml" ContentType="application/vnd.ms-office.chartstyle+xml"/>
  <Override PartName="/ppt/charts/colors28.xml" ContentType="application/vnd.ms-office.chartcolorstyle+xml"/>
  <Override PartName="/ppt/tags/tag378.xml" ContentType="application/vnd.openxmlformats-officedocument.presentationml.tags+xml"/>
  <Override PartName="/ppt/notesSlides/notesSlide85.xml" ContentType="application/vnd.openxmlformats-officedocument.presentationml.notesSlide+xml"/>
  <Override PartName="/ppt/charts/chart365.xml" ContentType="application/vnd.openxmlformats-officedocument.drawingml.chart+xml"/>
  <Override PartName="/ppt/charts/style29.xml" ContentType="application/vnd.ms-office.chartstyle+xml"/>
  <Override PartName="/ppt/charts/colors29.xml" ContentType="application/vnd.ms-office.chartcolorstyle+xml"/>
  <Override PartName="/ppt/tags/tag379.xml" ContentType="application/vnd.openxmlformats-officedocument.presentationml.tags+xml"/>
  <Override PartName="/ppt/notesSlides/notesSlide86.xml" ContentType="application/vnd.openxmlformats-officedocument.presentationml.notesSlide+xml"/>
  <Override PartName="/ppt/charts/chart366.xml" ContentType="application/vnd.openxmlformats-officedocument.drawingml.chart+xml"/>
  <Override PartName="/ppt/charts/style30.xml" ContentType="application/vnd.ms-office.chartstyle+xml"/>
  <Override PartName="/ppt/charts/colors30.xml" ContentType="application/vnd.ms-office.chartcolorstyle+xml"/>
  <Override PartName="/ppt/tags/tag380.xml" ContentType="application/vnd.openxmlformats-officedocument.presentationml.tags+xml"/>
  <Override PartName="/ppt/notesSlides/notesSlide87.xml" ContentType="application/vnd.openxmlformats-officedocument.presentationml.notesSlide+xml"/>
  <Override PartName="/ppt/charts/chart367.xml" ContentType="application/vnd.openxmlformats-officedocument.drawingml.chart+xml"/>
  <Override PartName="/ppt/charts/style31.xml" ContentType="application/vnd.ms-office.chartstyle+xml"/>
  <Override PartName="/ppt/charts/colors31.xml" ContentType="application/vnd.ms-office.chartcolorstyle+xml"/>
  <Override PartName="/ppt/tags/tag381.xml" ContentType="application/vnd.openxmlformats-officedocument.presentationml.tags+xml"/>
  <Override PartName="/ppt/notesSlides/notesSlide88.xml" ContentType="application/vnd.openxmlformats-officedocument.presentationml.notesSlide+xml"/>
  <Override PartName="/ppt/charts/chart368.xml" ContentType="application/vnd.openxmlformats-officedocument.drawingml.chart+xml"/>
  <Override PartName="/ppt/charts/style32.xml" ContentType="application/vnd.ms-office.chartstyle+xml"/>
  <Override PartName="/ppt/charts/colors32.xml" ContentType="application/vnd.ms-office.chartcolorstyle+xml"/>
  <Override PartName="/ppt/tags/tag382.xml" ContentType="application/vnd.openxmlformats-officedocument.presentationml.tags+xml"/>
  <Override PartName="/ppt/notesSlides/notesSlide89.xml" ContentType="application/vnd.openxmlformats-officedocument.presentationml.notesSlide+xml"/>
  <Override PartName="/ppt/charts/chart369.xml" ContentType="application/vnd.openxmlformats-officedocument.drawingml.chart+xml"/>
  <Override PartName="/ppt/charts/style33.xml" ContentType="application/vnd.ms-office.chartstyle+xml"/>
  <Override PartName="/ppt/charts/colors33.xml" ContentType="application/vnd.ms-office.chartcolorstyle+xml"/>
  <Override PartName="/ppt/tags/tag383.xml" ContentType="application/vnd.openxmlformats-officedocument.presentationml.tags+xml"/>
  <Override PartName="/ppt/notesSlides/notesSlide90.xml" ContentType="application/vnd.openxmlformats-officedocument.presentationml.notesSlide+xml"/>
  <Override PartName="/ppt/charts/chart370.xml" ContentType="application/vnd.openxmlformats-officedocument.drawingml.chart+xml"/>
  <Override PartName="/ppt/charts/style34.xml" ContentType="application/vnd.ms-office.chartstyle+xml"/>
  <Override PartName="/ppt/charts/colors34.xml" ContentType="application/vnd.ms-office.chartcolorstyle+xml"/>
  <Override PartName="/ppt/tags/tag384.xml" ContentType="application/vnd.openxmlformats-officedocument.presentationml.tags+xml"/>
  <Override PartName="/ppt/notesSlides/notesSlide91.xml" ContentType="application/vnd.openxmlformats-officedocument.presentationml.notesSlide+xml"/>
  <Override PartName="/ppt/charts/chart371.xml" ContentType="application/vnd.openxmlformats-officedocument.drawingml.chart+xml"/>
  <Override PartName="/ppt/charts/style35.xml" ContentType="application/vnd.ms-office.chartstyle+xml"/>
  <Override PartName="/ppt/charts/colors35.xml" ContentType="application/vnd.ms-office.chartcolorstyle+xml"/>
  <Override PartName="/ppt/tags/tag385.xml" ContentType="application/vnd.openxmlformats-officedocument.presentationml.tags+xml"/>
  <Override PartName="/ppt/notesSlides/notesSlide92.xml" ContentType="application/vnd.openxmlformats-officedocument.presentationml.notesSlide+xml"/>
  <Override PartName="/ppt/charts/chart372.xml" ContentType="application/vnd.openxmlformats-officedocument.drawingml.chart+xml"/>
  <Override PartName="/ppt/charts/style36.xml" ContentType="application/vnd.ms-office.chartstyle+xml"/>
  <Override PartName="/ppt/charts/colors36.xml" ContentType="application/vnd.ms-office.chartcolorstyle+xml"/>
  <Override PartName="/ppt/tags/tag386.xml" ContentType="application/vnd.openxmlformats-officedocument.presentationml.tags+xml"/>
  <Override PartName="/ppt/notesSlides/notesSlide93.xml" ContentType="application/vnd.openxmlformats-officedocument.presentationml.notesSlide+xml"/>
  <Override PartName="/ppt/charts/chart373.xml" ContentType="application/vnd.openxmlformats-officedocument.drawingml.chart+xml"/>
  <Override PartName="/ppt/charts/style37.xml" ContentType="application/vnd.ms-office.chartstyle+xml"/>
  <Override PartName="/ppt/charts/colors37.xml" ContentType="application/vnd.ms-office.chartcolorstyle+xml"/>
  <Override PartName="/ppt/tags/tag387.xml" ContentType="application/vnd.openxmlformats-officedocument.presentationml.tags+xml"/>
  <Override PartName="/ppt/notesSlides/notesSlide94.xml" ContentType="application/vnd.openxmlformats-officedocument.presentationml.notesSlide+xml"/>
  <Override PartName="/ppt/charts/chart374.xml" ContentType="application/vnd.openxmlformats-officedocument.drawingml.chart+xml"/>
  <Override PartName="/ppt/charts/style38.xml" ContentType="application/vnd.ms-office.chartstyle+xml"/>
  <Override PartName="/ppt/charts/colors38.xml" ContentType="application/vnd.ms-office.chartcolorstyle+xml"/>
  <Override PartName="/ppt/tags/tag388.xml" ContentType="application/vnd.openxmlformats-officedocument.presentationml.tags+xml"/>
  <Override PartName="/ppt/notesSlides/notesSlide95.xml" ContentType="application/vnd.openxmlformats-officedocument.presentationml.notesSlide+xml"/>
  <Override PartName="/ppt/charts/chart375.xml" ContentType="application/vnd.openxmlformats-officedocument.drawingml.chart+xml"/>
  <Override PartName="/ppt/charts/style39.xml" ContentType="application/vnd.ms-office.chartstyle+xml"/>
  <Override PartName="/ppt/charts/colors39.xml" ContentType="application/vnd.ms-office.chartcolorstyle+xml"/>
  <Override PartName="/ppt/tags/tag389.xml" ContentType="application/vnd.openxmlformats-officedocument.presentationml.tags+xml"/>
  <Override PartName="/ppt/notesSlides/notesSlide96.xml" ContentType="application/vnd.openxmlformats-officedocument.presentationml.notesSlide+xml"/>
  <Override PartName="/ppt/charts/chart376.xml" ContentType="application/vnd.openxmlformats-officedocument.drawingml.chart+xml"/>
  <Override PartName="/ppt/charts/style40.xml" ContentType="application/vnd.ms-office.chartstyle+xml"/>
  <Override PartName="/ppt/charts/colors40.xml" ContentType="application/vnd.ms-office.chartcolorstyle+xml"/>
  <Override PartName="/ppt/tags/tag390.xml" ContentType="application/vnd.openxmlformats-officedocument.presentationml.tags+xml"/>
  <Override PartName="/ppt/notesSlides/notesSlide97.xml" ContentType="application/vnd.openxmlformats-officedocument.presentationml.notesSlide+xml"/>
  <Override PartName="/ppt/charts/chart377.xml" ContentType="application/vnd.openxmlformats-officedocument.drawingml.chart+xml"/>
  <Override PartName="/ppt/charts/style41.xml" ContentType="application/vnd.ms-office.chartstyle+xml"/>
  <Override PartName="/ppt/charts/colors41.xml" ContentType="application/vnd.ms-office.chartcolorstyle+xml"/>
  <Override PartName="/ppt/tags/tag391.xml" ContentType="application/vnd.openxmlformats-officedocument.presentationml.tags+xml"/>
  <Override PartName="/ppt/notesSlides/notesSlide98.xml" ContentType="application/vnd.openxmlformats-officedocument.presentationml.notesSlide+xml"/>
  <Override PartName="/ppt/charts/chart378.xml" ContentType="application/vnd.openxmlformats-officedocument.drawingml.chart+xml"/>
  <Override PartName="/ppt/charts/style42.xml" ContentType="application/vnd.ms-office.chartstyle+xml"/>
  <Override PartName="/ppt/charts/colors42.xml" ContentType="application/vnd.ms-office.chartcolorstyle+xml"/>
  <Override PartName="/ppt/tags/tag392.xml" ContentType="application/vnd.openxmlformats-officedocument.presentationml.tags+xml"/>
  <Override PartName="/ppt/notesSlides/notesSlide99.xml" ContentType="application/vnd.openxmlformats-officedocument.presentationml.notesSlide+xml"/>
  <Override PartName="/ppt/charts/chart379.xml" ContentType="application/vnd.openxmlformats-officedocument.drawingml.chart+xml"/>
  <Override PartName="/ppt/charts/style43.xml" ContentType="application/vnd.ms-office.chartstyle+xml"/>
  <Override PartName="/ppt/charts/colors43.xml" ContentType="application/vnd.ms-office.chartcolorstyle+xml"/>
  <Override PartName="/ppt/tags/tag393.xml" ContentType="application/vnd.openxmlformats-officedocument.presentationml.tags+xml"/>
  <Override PartName="/ppt/notesSlides/notesSlide100.xml" ContentType="application/vnd.openxmlformats-officedocument.presentationml.notesSlide+xml"/>
  <Override PartName="/ppt/charts/chart380.xml" ContentType="application/vnd.openxmlformats-officedocument.drawingml.chart+xml"/>
  <Override PartName="/ppt/charts/style44.xml" ContentType="application/vnd.ms-office.chartstyle+xml"/>
  <Override PartName="/ppt/charts/colors44.xml" ContentType="application/vnd.ms-office.chartcolorstyle+xml"/>
  <Override PartName="/ppt/tags/tag394.xml" ContentType="application/vnd.openxmlformats-officedocument.presentationml.tags+xml"/>
  <Override PartName="/ppt/notesSlides/notesSlide101.xml" ContentType="application/vnd.openxmlformats-officedocument.presentationml.notesSlide+xml"/>
  <Override PartName="/ppt/charts/chart381.xml" ContentType="application/vnd.openxmlformats-officedocument.drawingml.chart+xml"/>
  <Override PartName="/ppt/charts/style45.xml" ContentType="application/vnd.ms-office.chartstyle+xml"/>
  <Override PartName="/ppt/charts/colors45.xml" ContentType="application/vnd.ms-office.chartcolorstyle+xml"/>
  <Override PartName="/ppt/tags/tag395.xml" ContentType="application/vnd.openxmlformats-officedocument.presentationml.tags+xml"/>
  <Override PartName="/ppt/notesSlides/notesSlide102.xml" ContentType="application/vnd.openxmlformats-officedocument.presentationml.notesSlide+xml"/>
  <Override PartName="/ppt/charts/chart382.xml" ContentType="application/vnd.openxmlformats-officedocument.drawingml.chart+xml"/>
  <Override PartName="/ppt/charts/style46.xml" ContentType="application/vnd.ms-office.chartstyle+xml"/>
  <Override PartName="/ppt/charts/colors46.xml" ContentType="application/vnd.ms-office.chartcolorstyle+xml"/>
  <Override PartName="/ppt/tags/tag396.xml" ContentType="application/vnd.openxmlformats-officedocument.presentationml.tags+xml"/>
  <Override PartName="/ppt/notesSlides/notesSlide103.xml" ContentType="application/vnd.openxmlformats-officedocument.presentationml.notesSlide+xml"/>
  <Override PartName="/ppt/charts/chart383.xml" ContentType="application/vnd.openxmlformats-officedocument.drawingml.chart+xml"/>
  <Override PartName="/ppt/charts/style47.xml" ContentType="application/vnd.ms-office.chartstyle+xml"/>
  <Override PartName="/ppt/charts/colors47.xml" ContentType="application/vnd.ms-office.chartcolorstyle+xml"/>
  <Override PartName="/ppt/tags/tag397.xml" ContentType="application/vnd.openxmlformats-officedocument.presentationml.tags+xml"/>
  <Override PartName="/ppt/notesSlides/notesSlide104.xml" ContentType="application/vnd.openxmlformats-officedocument.presentationml.notesSlide+xml"/>
  <Override PartName="/ppt/charts/chart384.xml" ContentType="application/vnd.openxmlformats-officedocument.drawingml.chart+xml"/>
  <Override PartName="/ppt/charts/style48.xml" ContentType="application/vnd.ms-office.chartstyle+xml"/>
  <Override PartName="/ppt/charts/colors48.xml" ContentType="application/vnd.ms-office.chartcolorstyle+xml"/>
  <Override PartName="/ppt/tags/tag398.xml" ContentType="application/vnd.openxmlformats-officedocument.presentationml.tags+xml"/>
  <Override PartName="/ppt/notesSlides/notesSlide105.xml" ContentType="application/vnd.openxmlformats-officedocument.presentationml.notesSlide+xml"/>
  <Override PartName="/ppt/charts/chart385.xml" ContentType="application/vnd.openxmlformats-officedocument.drawingml.chart+xml"/>
  <Override PartName="/ppt/charts/style49.xml" ContentType="application/vnd.ms-office.chartstyle+xml"/>
  <Override PartName="/ppt/charts/colors49.xml" ContentType="application/vnd.ms-office.chartcolorstyle+xml"/>
  <Override PartName="/ppt/tags/tag399.xml" ContentType="application/vnd.openxmlformats-officedocument.presentationml.tags+xml"/>
  <Override PartName="/ppt/notesSlides/notesSlide106.xml" ContentType="application/vnd.openxmlformats-officedocument.presentationml.notesSlide+xml"/>
  <Override PartName="/ppt/charts/chart386.xml" ContentType="application/vnd.openxmlformats-officedocument.drawingml.chart+xml"/>
  <Override PartName="/ppt/charts/style50.xml" ContentType="application/vnd.ms-office.chartstyle+xml"/>
  <Override PartName="/ppt/charts/colors50.xml" ContentType="application/vnd.ms-office.chartcolorstyle+xml"/>
  <Override PartName="/ppt/tags/tag400.xml" ContentType="application/vnd.openxmlformats-officedocument.presentationml.tags+xml"/>
  <Override PartName="/ppt/notesSlides/notesSlide107.xml" ContentType="application/vnd.openxmlformats-officedocument.presentationml.notesSlide+xml"/>
  <Override PartName="/ppt/charts/chart387.xml" ContentType="application/vnd.openxmlformats-officedocument.drawingml.chart+xml"/>
  <Override PartName="/ppt/charts/style51.xml" ContentType="application/vnd.ms-office.chartstyle+xml"/>
  <Override PartName="/ppt/charts/colors51.xml" ContentType="application/vnd.ms-office.chartcolorstyle+xml"/>
  <Override PartName="/ppt/tags/tag401.xml" ContentType="application/vnd.openxmlformats-officedocument.presentationml.tags+xml"/>
  <Override PartName="/ppt/notesSlides/notesSlide108.xml" ContentType="application/vnd.openxmlformats-officedocument.presentationml.notesSlide+xml"/>
  <Override PartName="/ppt/charts/chart388.xml" ContentType="application/vnd.openxmlformats-officedocument.drawingml.chart+xml"/>
  <Override PartName="/ppt/charts/style52.xml" ContentType="application/vnd.ms-office.chartstyle+xml"/>
  <Override PartName="/ppt/charts/colors52.xml" ContentType="application/vnd.ms-office.chartcolorstyle+xml"/>
  <Override PartName="/ppt/tags/tag402.xml" ContentType="application/vnd.openxmlformats-officedocument.presentationml.tags+xml"/>
  <Override PartName="/ppt/notesSlides/notesSlide109.xml" ContentType="application/vnd.openxmlformats-officedocument.presentationml.notesSlide+xml"/>
  <Override PartName="/ppt/charts/chart389.xml" ContentType="application/vnd.openxmlformats-officedocument.drawingml.chart+xml"/>
  <Override PartName="/ppt/charts/style53.xml" ContentType="application/vnd.ms-office.chartstyle+xml"/>
  <Override PartName="/ppt/charts/colors53.xml" ContentType="application/vnd.ms-office.chartcolorstyle+xml"/>
  <Override PartName="/ppt/tags/tag403.xml" ContentType="application/vnd.openxmlformats-officedocument.presentationml.tags+xml"/>
  <Override PartName="/ppt/notesSlides/notesSlide110.xml" ContentType="application/vnd.openxmlformats-officedocument.presentationml.notesSlide+xml"/>
  <Override PartName="/ppt/charts/chart390.xml" ContentType="application/vnd.openxmlformats-officedocument.drawingml.chart+xml"/>
  <Override PartName="/ppt/charts/style54.xml" ContentType="application/vnd.ms-office.chartstyle+xml"/>
  <Override PartName="/ppt/charts/colors54.xml" ContentType="application/vnd.ms-office.chartcolorstyle+xml"/>
  <Override PartName="/ppt/tags/tag404.xml" ContentType="application/vnd.openxmlformats-officedocument.presentationml.tags+xml"/>
  <Override PartName="/ppt/notesSlides/notesSlide111.xml" ContentType="application/vnd.openxmlformats-officedocument.presentationml.notesSlide+xml"/>
  <Override PartName="/ppt/charts/chart391.xml" ContentType="application/vnd.openxmlformats-officedocument.drawingml.chart+xml"/>
  <Override PartName="/ppt/charts/style55.xml" ContentType="application/vnd.ms-office.chartstyle+xml"/>
  <Override PartName="/ppt/charts/colors55.xml" ContentType="application/vnd.ms-office.chartcolorstyle+xml"/>
  <Override PartName="/ppt/tags/tag405.xml" ContentType="application/vnd.openxmlformats-officedocument.presentationml.tags+xml"/>
  <Override PartName="/ppt/notesSlides/notesSlide112.xml" ContentType="application/vnd.openxmlformats-officedocument.presentationml.notesSlide+xml"/>
  <Override PartName="/ppt/charts/chart392.xml" ContentType="application/vnd.openxmlformats-officedocument.drawingml.chart+xml"/>
  <Override PartName="/ppt/charts/style56.xml" ContentType="application/vnd.ms-office.chartstyle+xml"/>
  <Override PartName="/ppt/charts/colors56.xml" ContentType="application/vnd.ms-office.chartcolorstyle+xml"/>
  <Override PartName="/ppt/tags/tag406.xml" ContentType="application/vnd.openxmlformats-officedocument.presentationml.tags+xml"/>
  <Override PartName="/ppt/notesSlides/notesSlide113.xml" ContentType="application/vnd.openxmlformats-officedocument.presentationml.notesSlide+xml"/>
  <Override PartName="/ppt/charts/chart393.xml" ContentType="application/vnd.openxmlformats-officedocument.drawingml.chart+xml"/>
  <Override PartName="/ppt/charts/style57.xml" ContentType="application/vnd.ms-office.chartstyle+xml"/>
  <Override PartName="/ppt/charts/colors57.xml" ContentType="application/vnd.ms-office.chartcolorstyle+xml"/>
  <Override PartName="/ppt/tags/tag407.xml" ContentType="application/vnd.openxmlformats-officedocument.presentationml.tags+xml"/>
  <Override PartName="/ppt/notesSlides/notesSlide114.xml" ContentType="application/vnd.openxmlformats-officedocument.presentationml.notesSlide+xml"/>
  <Override PartName="/ppt/charts/chart394.xml" ContentType="application/vnd.openxmlformats-officedocument.drawingml.chart+xml"/>
  <Override PartName="/ppt/charts/style58.xml" ContentType="application/vnd.ms-office.chartstyle+xml"/>
  <Override PartName="/ppt/charts/colors58.xml" ContentType="application/vnd.ms-office.chartcolorstyle+xml"/>
  <Override PartName="/ppt/tags/tag408.xml" ContentType="application/vnd.openxmlformats-officedocument.presentationml.tags+xml"/>
  <Override PartName="/ppt/notesSlides/notesSlide115.xml" ContentType="application/vnd.openxmlformats-officedocument.presentationml.notesSlide+xml"/>
  <Override PartName="/ppt/charts/chart395.xml" ContentType="application/vnd.openxmlformats-officedocument.drawingml.chart+xml"/>
  <Override PartName="/ppt/charts/style59.xml" ContentType="application/vnd.ms-office.chartstyle+xml"/>
  <Override PartName="/ppt/charts/colors59.xml" ContentType="application/vnd.ms-office.chartcolorstyle+xml"/>
  <Override PartName="/ppt/tags/tag409.xml" ContentType="application/vnd.openxmlformats-officedocument.presentationml.tags+xml"/>
  <Override PartName="/ppt/notesSlides/notesSlide116.xml" ContentType="application/vnd.openxmlformats-officedocument.presentationml.notesSlide+xml"/>
  <Override PartName="/ppt/charts/chart396.xml" ContentType="application/vnd.openxmlformats-officedocument.drawingml.chart+xml"/>
  <Override PartName="/ppt/charts/style60.xml" ContentType="application/vnd.ms-office.chartstyle+xml"/>
  <Override PartName="/ppt/charts/colors60.xml" ContentType="application/vnd.ms-office.chartcolorstyle+xml"/>
  <Override PartName="/ppt/tags/tag410.xml" ContentType="application/vnd.openxmlformats-officedocument.presentationml.tags+xml"/>
  <Override PartName="/ppt/notesSlides/notesSlide117.xml" ContentType="application/vnd.openxmlformats-officedocument.presentationml.notesSlide+xml"/>
  <Override PartName="/ppt/charts/chart397.xml" ContentType="application/vnd.openxmlformats-officedocument.drawingml.chart+xml"/>
  <Override PartName="/ppt/charts/style61.xml" ContentType="application/vnd.ms-office.chartstyle+xml"/>
  <Override PartName="/ppt/charts/colors61.xml" ContentType="application/vnd.ms-office.chartcolorstyle+xml"/>
  <Override PartName="/ppt/tags/tag411.xml" ContentType="application/vnd.openxmlformats-officedocument.presentationml.tags+xml"/>
  <Override PartName="/ppt/notesSlides/notesSlide118.xml" ContentType="application/vnd.openxmlformats-officedocument.presentationml.notesSlide+xml"/>
  <Override PartName="/ppt/charts/chart398.xml" ContentType="application/vnd.openxmlformats-officedocument.drawingml.chart+xml"/>
  <Override PartName="/ppt/charts/style62.xml" ContentType="application/vnd.ms-office.chartstyle+xml"/>
  <Override PartName="/ppt/charts/colors62.xml" ContentType="application/vnd.ms-office.chartcolorstyle+xml"/>
  <Override PartName="/ppt/tags/tag412.xml" ContentType="application/vnd.openxmlformats-officedocument.presentationml.tags+xml"/>
  <Override PartName="/ppt/notesSlides/notesSlide119.xml" ContentType="application/vnd.openxmlformats-officedocument.presentationml.notesSlide+xml"/>
  <Override PartName="/ppt/charts/chart399.xml" ContentType="application/vnd.openxmlformats-officedocument.drawingml.chart+xml"/>
  <Override PartName="/ppt/charts/style63.xml" ContentType="application/vnd.ms-office.chartstyle+xml"/>
  <Override PartName="/ppt/charts/colors63.xml" ContentType="application/vnd.ms-office.chartcolorstyle+xml"/>
  <Override PartName="/ppt/tags/tag413.xml" ContentType="application/vnd.openxmlformats-officedocument.presentationml.tags+xml"/>
  <Override PartName="/ppt/notesSlides/notesSlide120.xml" ContentType="application/vnd.openxmlformats-officedocument.presentationml.notesSlide+xml"/>
  <Override PartName="/ppt/charts/chart400.xml" ContentType="application/vnd.openxmlformats-officedocument.drawingml.chart+xml"/>
  <Override PartName="/ppt/charts/style64.xml" ContentType="application/vnd.ms-office.chartstyle+xml"/>
  <Override PartName="/ppt/charts/colors64.xml" ContentType="application/vnd.ms-office.chartcolorstyle+xml"/>
  <Override PartName="/ppt/tags/tag414.xml" ContentType="application/vnd.openxmlformats-officedocument.presentationml.tags+xml"/>
  <Override PartName="/ppt/notesSlides/notesSlide121.xml" ContentType="application/vnd.openxmlformats-officedocument.presentationml.notesSlide+xml"/>
  <Override PartName="/ppt/charts/chart401.xml" ContentType="application/vnd.openxmlformats-officedocument.drawingml.chart+xml"/>
  <Override PartName="/ppt/charts/style65.xml" ContentType="application/vnd.ms-office.chartstyle+xml"/>
  <Override PartName="/ppt/charts/colors65.xml" ContentType="application/vnd.ms-office.chartcolorstyle+xml"/>
  <Override PartName="/ppt/tags/tag415.xml" ContentType="application/vnd.openxmlformats-officedocument.presentationml.tags+xml"/>
  <Override PartName="/ppt/notesSlides/notesSlide122.xml" ContentType="application/vnd.openxmlformats-officedocument.presentationml.notesSlide+xml"/>
  <Override PartName="/ppt/charts/chart402.xml" ContentType="application/vnd.openxmlformats-officedocument.drawingml.chart+xml"/>
  <Override PartName="/ppt/charts/style66.xml" ContentType="application/vnd.ms-office.chartstyle+xml"/>
  <Override PartName="/ppt/charts/colors66.xml" ContentType="application/vnd.ms-office.chartcolorstyle+xml"/>
  <Override PartName="/ppt/tags/tag416.xml" ContentType="application/vnd.openxmlformats-officedocument.presentationml.tags+xml"/>
  <Override PartName="/ppt/notesSlides/notesSlide123.xml" ContentType="application/vnd.openxmlformats-officedocument.presentationml.notesSlide+xml"/>
  <Override PartName="/ppt/charts/chart403.xml" ContentType="application/vnd.openxmlformats-officedocument.drawingml.chart+xml"/>
  <Override PartName="/ppt/charts/style67.xml" ContentType="application/vnd.ms-office.chartstyle+xml"/>
  <Override PartName="/ppt/charts/colors67.xml" ContentType="application/vnd.ms-office.chartcolorstyle+xml"/>
  <Override PartName="/ppt/tags/tag417.xml" ContentType="application/vnd.openxmlformats-officedocument.presentationml.tags+xml"/>
  <Override PartName="/ppt/notesSlides/notesSlide124.xml" ContentType="application/vnd.openxmlformats-officedocument.presentationml.notesSlide+xml"/>
  <Override PartName="/ppt/charts/chart404.xml" ContentType="application/vnd.openxmlformats-officedocument.drawingml.chart+xml"/>
  <Override PartName="/ppt/charts/style68.xml" ContentType="application/vnd.ms-office.chartstyle+xml"/>
  <Override PartName="/ppt/charts/colors68.xml" ContentType="application/vnd.ms-office.chartcolorstyle+xml"/>
  <Override PartName="/ppt/tags/tag418.xml" ContentType="application/vnd.openxmlformats-officedocument.presentationml.tags+xml"/>
  <Override PartName="/ppt/notesSlides/notesSlide125.xml" ContentType="application/vnd.openxmlformats-officedocument.presentationml.notesSlide+xml"/>
  <Override PartName="/ppt/charts/chart405.xml" ContentType="application/vnd.openxmlformats-officedocument.drawingml.chart+xml"/>
  <Override PartName="/ppt/charts/style69.xml" ContentType="application/vnd.ms-office.chartstyle+xml"/>
  <Override PartName="/ppt/charts/colors69.xml" ContentType="application/vnd.ms-office.chartcolorstyle+xml"/>
  <Override PartName="/ppt/tags/tag419.xml" ContentType="application/vnd.openxmlformats-officedocument.presentationml.tags+xml"/>
  <Override PartName="/ppt/notesSlides/notesSlide126.xml" ContentType="application/vnd.openxmlformats-officedocument.presentationml.notesSlide+xml"/>
  <Override PartName="/ppt/charts/chart406.xml" ContentType="application/vnd.openxmlformats-officedocument.drawingml.chart+xml"/>
  <Override PartName="/ppt/charts/style70.xml" ContentType="application/vnd.ms-office.chartstyle+xml"/>
  <Override PartName="/ppt/charts/colors70.xml" ContentType="application/vnd.ms-office.chartcolorstyle+xml"/>
  <Override PartName="/ppt/tags/tag420.xml" ContentType="application/vnd.openxmlformats-officedocument.presentationml.tags+xml"/>
  <Override PartName="/ppt/notesSlides/notesSlide127.xml" ContentType="application/vnd.openxmlformats-officedocument.presentationml.notesSlide+xml"/>
  <Override PartName="/ppt/charts/chart407.xml" ContentType="application/vnd.openxmlformats-officedocument.drawingml.chart+xml"/>
  <Override PartName="/ppt/charts/style71.xml" ContentType="application/vnd.ms-office.chartstyle+xml"/>
  <Override PartName="/ppt/charts/colors71.xml" ContentType="application/vnd.ms-office.chartcolorstyle+xml"/>
  <Override PartName="/ppt/tags/tag421.xml" ContentType="application/vnd.openxmlformats-officedocument.presentationml.tags+xml"/>
  <Override PartName="/ppt/notesSlides/notesSlide128.xml" ContentType="application/vnd.openxmlformats-officedocument.presentationml.notesSlide+xml"/>
  <Override PartName="/ppt/charts/chart408.xml" ContentType="application/vnd.openxmlformats-officedocument.drawingml.chart+xml"/>
  <Override PartName="/ppt/charts/style72.xml" ContentType="application/vnd.ms-office.chartstyle+xml"/>
  <Override PartName="/ppt/charts/colors72.xml" ContentType="application/vnd.ms-office.chartcolorstyle+xml"/>
  <Override PartName="/ppt/tags/tag422.xml" ContentType="application/vnd.openxmlformats-officedocument.presentationml.tags+xml"/>
  <Override PartName="/ppt/notesSlides/notesSlide129.xml" ContentType="application/vnd.openxmlformats-officedocument.presentationml.notesSlide+xml"/>
  <Override PartName="/ppt/charts/chart409.xml" ContentType="application/vnd.openxmlformats-officedocument.drawingml.chart+xml"/>
  <Override PartName="/ppt/charts/style73.xml" ContentType="application/vnd.ms-office.chartstyle+xml"/>
  <Override PartName="/ppt/charts/colors73.xml" ContentType="application/vnd.ms-office.chartcolorstyle+xml"/>
  <Override PartName="/ppt/tags/tag423.xml" ContentType="application/vnd.openxmlformats-officedocument.presentationml.tags+xml"/>
  <Override PartName="/ppt/notesSlides/notesSlide130.xml" ContentType="application/vnd.openxmlformats-officedocument.presentationml.notesSlide+xml"/>
  <Override PartName="/ppt/charts/chart410.xml" ContentType="application/vnd.openxmlformats-officedocument.drawingml.chart+xml"/>
  <Override PartName="/ppt/charts/style74.xml" ContentType="application/vnd.ms-office.chartstyle+xml"/>
  <Override PartName="/ppt/charts/colors74.xml" ContentType="application/vnd.ms-office.chartcolorstyle+xml"/>
  <Override PartName="/ppt/tags/tag424.xml" ContentType="application/vnd.openxmlformats-officedocument.presentationml.tags+xml"/>
  <Override PartName="/ppt/notesSlides/notesSlide131.xml" ContentType="application/vnd.openxmlformats-officedocument.presentationml.notesSlide+xml"/>
  <Override PartName="/ppt/charts/chart411.xml" ContentType="application/vnd.openxmlformats-officedocument.drawingml.chart+xml"/>
  <Override PartName="/ppt/charts/style75.xml" ContentType="application/vnd.ms-office.chartstyle+xml"/>
  <Override PartName="/ppt/charts/colors75.xml" ContentType="application/vnd.ms-office.chartcolorstyle+xml"/>
  <Override PartName="/ppt/tags/tag425.xml" ContentType="application/vnd.openxmlformats-officedocument.presentationml.tags+xml"/>
  <Override PartName="/ppt/notesSlides/notesSlide132.xml" ContentType="application/vnd.openxmlformats-officedocument.presentationml.notesSlide+xml"/>
  <Override PartName="/ppt/charts/chart412.xml" ContentType="application/vnd.openxmlformats-officedocument.drawingml.chart+xml"/>
  <Override PartName="/ppt/charts/style76.xml" ContentType="application/vnd.ms-office.chartstyle+xml"/>
  <Override PartName="/ppt/charts/colors76.xml" ContentType="application/vnd.ms-office.chartcolorstyle+xml"/>
  <Override PartName="/ppt/tags/tag426.xml" ContentType="application/vnd.openxmlformats-officedocument.presentationml.tags+xml"/>
  <Override PartName="/ppt/notesSlides/notesSlide133.xml" ContentType="application/vnd.openxmlformats-officedocument.presentationml.notesSlide+xml"/>
  <Override PartName="/ppt/charts/chart413.xml" ContentType="application/vnd.openxmlformats-officedocument.drawingml.chart+xml"/>
  <Override PartName="/ppt/charts/style77.xml" ContentType="application/vnd.ms-office.chartstyle+xml"/>
  <Override PartName="/ppt/charts/colors77.xml" ContentType="application/vnd.ms-office.chartcolorstyle+xml"/>
  <Override PartName="/ppt/tags/tag427.xml" ContentType="application/vnd.openxmlformats-officedocument.presentationml.tags+xml"/>
  <Override PartName="/ppt/notesSlides/notesSlide134.xml" ContentType="application/vnd.openxmlformats-officedocument.presentationml.notesSlide+xml"/>
  <Override PartName="/ppt/charts/chart414.xml" ContentType="application/vnd.openxmlformats-officedocument.drawingml.chart+xml"/>
  <Override PartName="/ppt/charts/style78.xml" ContentType="application/vnd.ms-office.chartstyle+xml"/>
  <Override PartName="/ppt/charts/colors78.xml" ContentType="application/vnd.ms-office.chartcolorstyle+xml"/>
  <Override PartName="/ppt/tags/tag428.xml" ContentType="application/vnd.openxmlformats-officedocument.presentationml.tags+xml"/>
  <Override PartName="/ppt/notesSlides/notesSlide135.xml" ContentType="application/vnd.openxmlformats-officedocument.presentationml.notesSlide+xml"/>
  <Override PartName="/ppt/charts/chart415.xml" ContentType="application/vnd.openxmlformats-officedocument.drawingml.chart+xml"/>
  <Override PartName="/ppt/charts/style79.xml" ContentType="application/vnd.ms-office.chartstyle+xml"/>
  <Override PartName="/ppt/charts/colors79.xml" ContentType="application/vnd.ms-office.chartcolorstyle+xml"/>
  <Override PartName="/ppt/tags/tag429.xml" ContentType="application/vnd.openxmlformats-officedocument.presentationml.tags+xml"/>
  <Override PartName="/ppt/notesSlides/notesSlide136.xml" ContentType="application/vnd.openxmlformats-officedocument.presentationml.notesSlide+xml"/>
  <Override PartName="/ppt/charts/chart416.xml" ContentType="application/vnd.openxmlformats-officedocument.drawingml.chart+xml"/>
  <Override PartName="/ppt/charts/style80.xml" ContentType="application/vnd.ms-office.chartstyle+xml"/>
  <Override PartName="/ppt/charts/colors80.xml" ContentType="application/vnd.ms-office.chartcolorstyle+xml"/>
  <Override PartName="/ppt/tags/tag430.xml" ContentType="application/vnd.openxmlformats-officedocument.presentationml.tags+xml"/>
  <Override PartName="/ppt/notesSlides/notesSlide137.xml" ContentType="application/vnd.openxmlformats-officedocument.presentationml.notesSlide+xml"/>
  <Override PartName="/ppt/charts/chart417.xml" ContentType="application/vnd.openxmlformats-officedocument.drawingml.chart+xml"/>
  <Override PartName="/ppt/charts/style81.xml" ContentType="application/vnd.ms-office.chartstyle+xml"/>
  <Override PartName="/ppt/charts/colors81.xml" ContentType="application/vnd.ms-office.chartcolorstyle+xml"/>
  <Override PartName="/ppt/tags/tag431.xml" ContentType="application/vnd.openxmlformats-officedocument.presentationml.tags+xml"/>
  <Override PartName="/ppt/notesSlides/notesSlide138.xml" ContentType="application/vnd.openxmlformats-officedocument.presentationml.notesSlide+xml"/>
  <Override PartName="/ppt/charts/chart418.xml" ContentType="application/vnd.openxmlformats-officedocument.drawingml.chart+xml"/>
  <Override PartName="/ppt/charts/style82.xml" ContentType="application/vnd.ms-office.chartstyle+xml"/>
  <Override PartName="/ppt/charts/colors82.xml" ContentType="application/vnd.ms-office.chartcolorstyle+xml"/>
  <Override PartName="/ppt/tags/tag432.xml" ContentType="application/vnd.openxmlformats-officedocument.presentationml.tags+xml"/>
  <Override PartName="/ppt/notesSlides/notesSlide139.xml" ContentType="application/vnd.openxmlformats-officedocument.presentationml.notesSlide+xml"/>
  <Override PartName="/ppt/charts/chart419.xml" ContentType="application/vnd.openxmlformats-officedocument.drawingml.chart+xml"/>
  <Override PartName="/ppt/charts/style83.xml" ContentType="application/vnd.ms-office.chartstyle+xml"/>
  <Override PartName="/ppt/charts/colors83.xml" ContentType="application/vnd.ms-office.chartcolorstyle+xml"/>
  <Override PartName="/ppt/tags/tag433.xml" ContentType="application/vnd.openxmlformats-officedocument.presentationml.tags+xml"/>
  <Override PartName="/ppt/notesSlides/notesSlide140.xml" ContentType="application/vnd.openxmlformats-officedocument.presentationml.notesSlide+xml"/>
  <Override PartName="/ppt/charts/chart420.xml" ContentType="application/vnd.openxmlformats-officedocument.drawingml.chart+xml"/>
  <Override PartName="/ppt/charts/style84.xml" ContentType="application/vnd.ms-office.chartstyle+xml"/>
  <Override PartName="/ppt/charts/colors84.xml" ContentType="application/vnd.ms-office.chartcolorstyle+xml"/>
  <Override PartName="/ppt/tags/tag434.xml" ContentType="application/vnd.openxmlformats-officedocument.presentationml.tags+xml"/>
  <Override PartName="/ppt/notesSlides/notesSlide141.xml" ContentType="application/vnd.openxmlformats-officedocument.presentationml.notesSlide+xml"/>
  <Override PartName="/ppt/charts/chart421.xml" ContentType="application/vnd.openxmlformats-officedocument.drawingml.chart+xml"/>
  <Override PartName="/ppt/charts/style85.xml" ContentType="application/vnd.ms-office.chartstyle+xml"/>
  <Override PartName="/ppt/charts/colors85.xml" ContentType="application/vnd.ms-office.chartcolorstyle+xml"/>
  <Override PartName="/ppt/tags/tag435.xml" ContentType="application/vnd.openxmlformats-officedocument.presentationml.tags+xml"/>
  <Override PartName="/ppt/notesSlides/notesSlide142.xml" ContentType="application/vnd.openxmlformats-officedocument.presentationml.notesSlide+xml"/>
  <Override PartName="/ppt/charts/chart422.xml" ContentType="application/vnd.openxmlformats-officedocument.drawingml.chart+xml"/>
  <Override PartName="/ppt/charts/style86.xml" ContentType="application/vnd.ms-office.chartstyle+xml"/>
  <Override PartName="/ppt/charts/colors86.xml" ContentType="application/vnd.ms-office.chartcolorstyle+xml"/>
  <Override PartName="/ppt/tags/tag436.xml" ContentType="application/vnd.openxmlformats-officedocument.presentationml.tags+xml"/>
  <Override PartName="/ppt/notesSlides/notesSlide143.xml" ContentType="application/vnd.openxmlformats-officedocument.presentationml.notesSlide+xml"/>
  <Override PartName="/ppt/charts/chart423.xml" ContentType="application/vnd.openxmlformats-officedocument.drawingml.chart+xml"/>
  <Override PartName="/ppt/charts/style87.xml" ContentType="application/vnd.ms-office.chartstyle+xml"/>
  <Override PartName="/ppt/charts/colors87.xml" ContentType="application/vnd.ms-office.chartcolorstyle+xml"/>
  <Override PartName="/ppt/tags/tag437.xml" ContentType="application/vnd.openxmlformats-officedocument.presentationml.tags+xml"/>
  <Override PartName="/ppt/notesSlides/notesSlide144.xml" ContentType="application/vnd.openxmlformats-officedocument.presentationml.notesSlide+xml"/>
  <Override PartName="/ppt/charts/chart424.xml" ContentType="application/vnd.openxmlformats-officedocument.drawingml.chart+xml"/>
  <Override PartName="/ppt/charts/style88.xml" ContentType="application/vnd.ms-office.chartstyle+xml"/>
  <Override PartName="/ppt/charts/colors88.xml" ContentType="application/vnd.ms-office.chartcolorstyle+xml"/>
  <Override PartName="/ppt/tags/tag438.xml" ContentType="application/vnd.openxmlformats-officedocument.presentationml.tags+xml"/>
  <Override PartName="/ppt/notesSlides/notesSlide145.xml" ContentType="application/vnd.openxmlformats-officedocument.presentationml.notesSlide+xml"/>
  <Override PartName="/ppt/charts/chart425.xml" ContentType="application/vnd.openxmlformats-officedocument.drawingml.chart+xml"/>
  <Override PartName="/ppt/charts/style89.xml" ContentType="application/vnd.ms-office.chartstyle+xml"/>
  <Override PartName="/ppt/charts/colors89.xml" ContentType="application/vnd.ms-office.chartcolorstyle+xml"/>
  <Override PartName="/ppt/tags/tag439.xml" ContentType="application/vnd.openxmlformats-officedocument.presentationml.tags+xml"/>
  <Override PartName="/ppt/notesSlides/notesSlide146.xml" ContentType="application/vnd.openxmlformats-officedocument.presentationml.notesSlide+xml"/>
  <Override PartName="/ppt/charts/chart426.xml" ContentType="application/vnd.openxmlformats-officedocument.drawingml.chart+xml"/>
  <Override PartName="/ppt/charts/style90.xml" ContentType="application/vnd.ms-office.chartstyle+xml"/>
  <Override PartName="/ppt/charts/colors90.xml" ContentType="application/vnd.ms-office.chartcolorstyle+xml"/>
  <Override PartName="/ppt/tags/tag440.xml" ContentType="application/vnd.openxmlformats-officedocument.presentationml.tags+xml"/>
  <Override PartName="/ppt/notesSlides/notesSlide147.xml" ContentType="application/vnd.openxmlformats-officedocument.presentationml.notesSlide+xml"/>
  <Override PartName="/ppt/charts/chart427.xml" ContentType="application/vnd.openxmlformats-officedocument.drawingml.chart+xml"/>
  <Override PartName="/ppt/charts/style91.xml" ContentType="application/vnd.ms-office.chartstyle+xml"/>
  <Override PartName="/ppt/charts/colors91.xml" ContentType="application/vnd.ms-office.chartcolorstyle+xml"/>
  <Override PartName="/ppt/tags/tag441.xml" ContentType="application/vnd.openxmlformats-officedocument.presentationml.tags+xml"/>
  <Override PartName="/ppt/notesSlides/notesSlide148.xml" ContentType="application/vnd.openxmlformats-officedocument.presentationml.notesSlide+xml"/>
  <Override PartName="/ppt/charts/chart428.xml" ContentType="application/vnd.openxmlformats-officedocument.drawingml.chart+xml"/>
  <Override PartName="/ppt/charts/style92.xml" ContentType="application/vnd.ms-office.chartstyle+xml"/>
  <Override PartName="/ppt/charts/colors92.xml" ContentType="application/vnd.ms-office.chartcolorstyle+xml"/>
  <Override PartName="/ppt/tags/tag442.xml" ContentType="application/vnd.openxmlformats-officedocument.presentationml.tags+xml"/>
  <Override PartName="/ppt/notesSlides/notesSlide149.xml" ContentType="application/vnd.openxmlformats-officedocument.presentationml.notesSlide+xml"/>
  <Override PartName="/ppt/charts/chart429.xml" ContentType="application/vnd.openxmlformats-officedocument.drawingml.chart+xml"/>
  <Override PartName="/ppt/charts/style93.xml" ContentType="application/vnd.ms-office.chartstyle+xml"/>
  <Override PartName="/ppt/charts/colors93.xml" ContentType="application/vnd.ms-office.chartcolorstyle+xml"/>
  <Override PartName="/ppt/tags/tag443.xml" ContentType="application/vnd.openxmlformats-officedocument.presentationml.tags+xml"/>
  <Override PartName="/ppt/notesSlides/notesSlide150.xml" ContentType="application/vnd.openxmlformats-officedocument.presentationml.notesSlide+xml"/>
  <Override PartName="/ppt/charts/chart430.xml" ContentType="application/vnd.openxmlformats-officedocument.drawingml.chart+xml"/>
  <Override PartName="/ppt/charts/style94.xml" ContentType="application/vnd.ms-office.chartstyle+xml"/>
  <Override PartName="/ppt/charts/colors94.xml" ContentType="application/vnd.ms-office.chartcolorstyle+xml"/>
  <Override PartName="/ppt/tags/tag444.xml" ContentType="application/vnd.openxmlformats-officedocument.presentationml.tags+xml"/>
  <Override PartName="/ppt/notesSlides/notesSlide151.xml" ContentType="application/vnd.openxmlformats-officedocument.presentationml.notesSlide+xml"/>
  <Override PartName="/ppt/charts/chart431.xml" ContentType="application/vnd.openxmlformats-officedocument.drawingml.chart+xml"/>
  <Override PartName="/ppt/charts/style95.xml" ContentType="application/vnd.ms-office.chartstyle+xml"/>
  <Override PartName="/ppt/charts/colors95.xml" ContentType="application/vnd.ms-office.chartcolorstyle+xml"/>
  <Override PartName="/ppt/tags/tag445.xml" ContentType="application/vnd.openxmlformats-officedocument.presentationml.tags+xml"/>
  <Override PartName="/ppt/notesSlides/notesSlide152.xml" ContentType="application/vnd.openxmlformats-officedocument.presentationml.notesSlide+xml"/>
  <Override PartName="/ppt/charts/chart432.xml" ContentType="application/vnd.openxmlformats-officedocument.drawingml.chart+xml"/>
  <Override PartName="/ppt/charts/style96.xml" ContentType="application/vnd.ms-office.chartstyle+xml"/>
  <Override PartName="/ppt/charts/colors96.xml" ContentType="application/vnd.ms-office.chartcolorstyle+xml"/>
  <Override PartName="/ppt/tags/tag446.xml" ContentType="application/vnd.openxmlformats-officedocument.presentationml.tags+xml"/>
  <Override PartName="/ppt/notesSlides/notesSlide153.xml" ContentType="application/vnd.openxmlformats-officedocument.presentationml.notesSlide+xml"/>
  <Override PartName="/ppt/charts/chart433.xml" ContentType="application/vnd.openxmlformats-officedocument.drawingml.chart+xml"/>
  <Override PartName="/ppt/charts/style97.xml" ContentType="application/vnd.ms-office.chartstyle+xml"/>
  <Override PartName="/ppt/charts/colors97.xml" ContentType="application/vnd.ms-office.chartcolorstyle+xml"/>
  <Override PartName="/ppt/tags/tag447.xml" ContentType="application/vnd.openxmlformats-officedocument.presentationml.tags+xml"/>
  <Override PartName="/ppt/notesSlides/notesSlide154.xml" ContentType="application/vnd.openxmlformats-officedocument.presentationml.notesSlide+xml"/>
  <Override PartName="/ppt/charts/chart434.xml" ContentType="application/vnd.openxmlformats-officedocument.drawingml.chart+xml"/>
  <Override PartName="/ppt/charts/style98.xml" ContentType="application/vnd.ms-office.chartstyle+xml"/>
  <Override PartName="/ppt/charts/colors98.xml" ContentType="application/vnd.ms-office.chartcolorstyle+xml"/>
  <Override PartName="/ppt/tags/tag448.xml" ContentType="application/vnd.openxmlformats-officedocument.presentationml.tags+xml"/>
  <Override PartName="/ppt/notesSlides/notesSlide155.xml" ContentType="application/vnd.openxmlformats-officedocument.presentationml.notesSlide+xml"/>
  <Override PartName="/ppt/charts/chart435.xml" ContentType="application/vnd.openxmlformats-officedocument.drawingml.chart+xml"/>
  <Override PartName="/ppt/charts/style99.xml" ContentType="application/vnd.ms-office.chartstyle+xml"/>
  <Override PartName="/ppt/charts/colors99.xml" ContentType="application/vnd.ms-office.chartcolorstyle+xml"/>
  <Override PartName="/ppt/tags/tag449.xml" ContentType="application/vnd.openxmlformats-officedocument.presentationml.tags+xml"/>
  <Override PartName="/ppt/notesSlides/notesSlide156.xml" ContentType="application/vnd.openxmlformats-officedocument.presentationml.notesSlide+xml"/>
  <Override PartName="/ppt/charts/chart436.xml" ContentType="application/vnd.openxmlformats-officedocument.drawingml.chart+xml"/>
  <Override PartName="/ppt/charts/style100.xml" ContentType="application/vnd.ms-office.chartstyle+xml"/>
  <Override PartName="/ppt/charts/colors100.xml" ContentType="application/vnd.ms-office.chartcolorstyle+xml"/>
  <Override PartName="/ppt/tags/tag450.xml" ContentType="application/vnd.openxmlformats-officedocument.presentationml.tags+xml"/>
  <Override PartName="/ppt/notesSlides/notesSlide157.xml" ContentType="application/vnd.openxmlformats-officedocument.presentationml.notesSlide+xml"/>
  <Override PartName="/ppt/charts/chart437.xml" ContentType="application/vnd.openxmlformats-officedocument.drawingml.chart+xml"/>
  <Override PartName="/ppt/charts/style101.xml" ContentType="application/vnd.ms-office.chartstyle+xml"/>
  <Override PartName="/ppt/charts/colors101.xml" ContentType="application/vnd.ms-office.chartcolorstyle+xml"/>
  <Override PartName="/ppt/tags/tag451.xml" ContentType="application/vnd.openxmlformats-officedocument.presentationml.tags+xml"/>
  <Override PartName="/ppt/notesSlides/notesSlide158.xml" ContentType="application/vnd.openxmlformats-officedocument.presentationml.notesSlide+xml"/>
  <Override PartName="/ppt/charts/chart438.xml" ContentType="application/vnd.openxmlformats-officedocument.drawingml.chart+xml"/>
  <Override PartName="/ppt/charts/style102.xml" ContentType="application/vnd.ms-office.chartstyle+xml"/>
  <Override PartName="/ppt/charts/colors102.xml" ContentType="application/vnd.ms-office.chartcolorstyle+xml"/>
  <Override PartName="/ppt/tags/tag452.xml" ContentType="application/vnd.openxmlformats-officedocument.presentationml.tags+xml"/>
  <Override PartName="/ppt/notesSlides/notesSlide159.xml" ContentType="application/vnd.openxmlformats-officedocument.presentationml.notesSlide+xml"/>
  <Override PartName="/ppt/charts/chart439.xml" ContentType="application/vnd.openxmlformats-officedocument.drawingml.chart+xml"/>
  <Override PartName="/ppt/charts/style103.xml" ContentType="application/vnd.ms-office.chartstyle+xml"/>
  <Override PartName="/ppt/charts/colors103.xml" ContentType="application/vnd.ms-office.chartcolorstyle+xml"/>
  <Override PartName="/ppt/tags/tag453.xml" ContentType="application/vnd.openxmlformats-officedocument.presentationml.tags+xml"/>
  <Override PartName="/ppt/notesSlides/notesSlide160.xml" ContentType="application/vnd.openxmlformats-officedocument.presentationml.notesSlide+xml"/>
  <Override PartName="/ppt/charts/chart440.xml" ContentType="application/vnd.openxmlformats-officedocument.drawingml.chart+xml"/>
  <Override PartName="/ppt/charts/style104.xml" ContentType="application/vnd.ms-office.chartstyle+xml"/>
  <Override PartName="/ppt/charts/colors104.xml" ContentType="application/vnd.ms-office.chartcolorstyle+xml"/>
  <Override PartName="/ppt/tags/tag454.xml" ContentType="application/vnd.openxmlformats-officedocument.presentationml.tags+xml"/>
  <Override PartName="/ppt/notesSlides/notesSlide161.xml" ContentType="application/vnd.openxmlformats-officedocument.presentationml.notesSlide+xml"/>
  <Override PartName="/ppt/charts/chart441.xml" ContentType="application/vnd.openxmlformats-officedocument.drawingml.chart+xml"/>
  <Override PartName="/ppt/charts/style105.xml" ContentType="application/vnd.ms-office.chartstyle+xml"/>
  <Override PartName="/ppt/charts/colors105.xml" ContentType="application/vnd.ms-office.chartcolorstyle+xml"/>
  <Override PartName="/ppt/tags/tag455.xml" ContentType="application/vnd.openxmlformats-officedocument.presentationml.tags+xml"/>
  <Override PartName="/ppt/notesSlides/notesSlide162.xml" ContentType="application/vnd.openxmlformats-officedocument.presentationml.notesSlide+xml"/>
  <Override PartName="/ppt/charts/chart442.xml" ContentType="application/vnd.openxmlformats-officedocument.drawingml.chart+xml"/>
  <Override PartName="/ppt/charts/style106.xml" ContentType="application/vnd.ms-office.chartstyle+xml"/>
  <Override PartName="/ppt/charts/colors106.xml" ContentType="application/vnd.ms-office.chartcolorstyle+xml"/>
  <Override PartName="/ppt/tags/tag456.xml" ContentType="application/vnd.openxmlformats-officedocument.presentationml.tags+xml"/>
  <Override PartName="/ppt/notesSlides/notesSlide163.xml" ContentType="application/vnd.openxmlformats-officedocument.presentationml.notesSlide+xml"/>
  <Override PartName="/ppt/charts/chart443.xml" ContentType="application/vnd.openxmlformats-officedocument.drawingml.chart+xml"/>
  <Override PartName="/ppt/charts/style107.xml" ContentType="application/vnd.ms-office.chartstyle+xml"/>
  <Override PartName="/ppt/charts/colors107.xml" ContentType="application/vnd.ms-office.chartcolorstyle+xml"/>
  <Override PartName="/ppt/tags/tag457.xml" ContentType="application/vnd.openxmlformats-officedocument.presentationml.tags+xml"/>
  <Override PartName="/ppt/notesSlides/notesSlide164.xml" ContentType="application/vnd.openxmlformats-officedocument.presentationml.notesSlide+xml"/>
  <Override PartName="/ppt/charts/chart444.xml" ContentType="application/vnd.openxmlformats-officedocument.drawingml.chart+xml"/>
  <Override PartName="/ppt/charts/style108.xml" ContentType="application/vnd.ms-office.chartstyle+xml"/>
  <Override PartName="/ppt/charts/colors108.xml" ContentType="application/vnd.ms-office.chartcolorstyle+xml"/>
  <Override PartName="/ppt/tags/tag458.xml" ContentType="application/vnd.openxmlformats-officedocument.presentationml.tags+xml"/>
  <Override PartName="/ppt/notesSlides/notesSlide165.xml" ContentType="application/vnd.openxmlformats-officedocument.presentationml.notesSlide+xml"/>
  <Override PartName="/ppt/charts/chart445.xml" ContentType="application/vnd.openxmlformats-officedocument.drawingml.chart+xml"/>
  <Override PartName="/ppt/charts/style109.xml" ContentType="application/vnd.ms-office.chartstyle+xml"/>
  <Override PartName="/ppt/charts/colors109.xml" ContentType="application/vnd.ms-office.chartcolorstyle+xml"/>
  <Override PartName="/ppt/tags/tag459.xml" ContentType="application/vnd.openxmlformats-officedocument.presentationml.tags+xml"/>
  <Override PartName="/ppt/notesSlides/notesSlide166.xml" ContentType="application/vnd.openxmlformats-officedocument.presentationml.notesSlide+xml"/>
  <Override PartName="/ppt/charts/chart446.xml" ContentType="application/vnd.openxmlformats-officedocument.drawingml.chart+xml"/>
  <Override PartName="/ppt/charts/style110.xml" ContentType="application/vnd.ms-office.chartstyle+xml"/>
  <Override PartName="/ppt/charts/colors110.xml" ContentType="application/vnd.ms-office.chartcolorstyle+xml"/>
  <Override PartName="/ppt/tags/tag460.xml" ContentType="application/vnd.openxmlformats-officedocument.presentationml.tags+xml"/>
  <Override PartName="/ppt/notesSlides/notesSlide167.xml" ContentType="application/vnd.openxmlformats-officedocument.presentationml.notesSlide+xml"/>
  <Override PartName="/ppt/charts/chart447.xml" ContentType="application/vnd.openxmlformats-officedocument.drawingml.chart+xml"/>
  <Override PartName="/ppt/charts/style111.xml" ContentType="application/vnd.ms-office.chartstyle+xml"/>
  <Override PartName="/ppt/charts/colors111.xml" ContentType="application/vnd.ms-office.chartcolorstyle+xml"/>
  <Override PartName="/ppt/tags/tag461.xml" ContentType="application/vnd.openxmlformats-officedocument.presentationml.tags+xml"/>
  <Override PartName="/ppt/notesSlides/notesSlide168.xml" ContentType="application/vnd.openxmlformats-officedocument.presentationml.notesSlide+xml"/>
  <Override PartName="/ppt/charts/chart448.xml" ContentType="application/vnd.openxmlformats-officedocument.drawingml.chart+xml"/>
  <Override PartName="/ppt/charts/style112.xml" ContentType="application/vnd.ms-office.chartstyle+xml"/>
  <Override PartName="/ppt/charts/colors112.xml" ContentType="application/vnd.ms-office.chartcolorstyle+xml"/>
  <Override PartName="/ppt/tags/tag462.xml" ContentType="application/vnd.openxmlformats-officedocument.presentationml.tags+xml"/>
  <Override PartName="/ppt/notesSlides/notesSlide169.xml" ContentType="application/vnd.openxmlformats-officedocument.presentationml.notesSlide+xml"/>
  <Override PartName="/ppt/charts/chart449.xml" ContentType="application/vnd.openxmlformats-officedocument.drawingml.chart+xml"/>
  <Override PartName="/ppt/charts/style113.xml" ContentType="application/vnd.ms-office.chartstyle+xml"/>
  <Override PartName="/ppt/charts/colors113.xml" ContentType="application/vnd.ms-office.chartcolorstyle+xml"/>
  <Override PartName="/ppt/tags/tag463.xml" ContentType="application/vnd.openxmlformats-officedocument.presentationml.tags+xml"/>
  <Override PartName="/ppt/notesSlides/notesSlide170.xml" ContentType="application/vnd.openxmlformats-officedocument.presentationml.notesSlide+xml"/>
  <Override PartName="/ppt/charts/chart450.xml" ContentType="application/vnd.openxmlformats-officedocument.drawingml.chart+xml"/>
  <Override PartName="/ppt/charts/style114.xml" ContentType="application/vnd.ms-office.chartstyle+xml"/>
  <Override PartName="/ppt/charts/colors114.xml" ContentType="application/vnd.ms-office.chartcolorstyle+xml"/>
  <Override PartName="/ppt/tags/tag464.xml" ContentType="application/vnd.openxmlformats-officedocument.presentationml.tags+xml"/>
  <Override PartName="/ppt/notesSlides/notesSlide171.xml" ContentType="application/vnd.openxmlformats-officedocument.presentationml.notesSlide+xml"/>
  <Override PartName="/ppt/charts/chart451.xml" ContentType="application/vnd.openxmlformats-officedocument.drawingml.chart+xml"/>
  <Override PartName="/ppt/charts/style115.xml" ContentType="application/vnd.ms-office.chartstyle+xml"/>
  <Override PartName="/ppt/charts/colors115.xml" ContentType="application/vnd.ms-office.chartcolorstyle+xml"/>
  <Override PartName="/ppt/tags/tag465.xml" ContentType="application/vnd.openxmlformats-officedocument.presentationml.tags+xml"/>
  <Override PartName="/ppt/notesSlides/notesSlide172.xml" ContentType="application/vnd.openxmlformats-officedocument.presentationml.notesSlide+xml"/>
  <Override PartName="/ppt/charts/chart452.xml" ContentType="application/vnd.openxmlformats-officedocument.drawingml.chart+xml"/>
  <Override PartName="/ppt/charts/style116.xml" ContentType="application/vnd.ms-office.chartstyle+xml"/>
  <Override PartName="/ppt/charts/colors116.xml" ContentType="application/vnd.ms-office.chartcolorstyle+xml"/>
  <Override PartName="/ppt/tags/tag466.xml" ContentType="application/vnd.openxmlformats-officedocument.presentationml.tags+xml"/>
  <Override PartName="/ppt/notesSlides/notesSlide173.xml" ContentType="application/vnd.openxmlformats-officedocument.presentationml.notesSlide+xml"/>
  <Override PartName="/ppt/charts/chart453.xml" ContentType="application/vnd.openxmlformats-officedocument.drawingml.chart+xml"/>
  <Override PartName="/ppt/charts/style117.xml" ContentType="application/vnd.ms-office.chartstyle+xml"/>
  <Override PartName="/ppt/charts/colors117.xml" ContentType="application/vnd.ms-office.chartcolorstyle+xml"/>
  <Override PartName="/ppt/tags/tag467.xml" ContentType="application/vnd.openxmlformats-officedocument.presentationml.tags+xml"/>
  <Override PartName="/ppt/notesSlides/notesSlide174.xml" ContentType="application/vnd.openxmlformats-officedocument.presentationml.notesSlide+xml"/>
  <Override PartName="/ppt/charts/chart454.xml" ContentType="application/vnd.openxmlformats-officedocument.drawingml.chart+xml"/>
  <Override PartName="/ppt/charts/style118.xml" ContentType="application/vnd.ms-office.chartstyle+xml"/>
  <Override PartName="/ppt/charts/colors118.xml" ContentType="application/vnd.ms-office.chartcolorstyle+xml"/>
  <Override PartName="/ppt/tags/tag468.xml" ContentType="application/vnd.openxmlformats-officedocument.presentationml.tags+xml"/>
  <Override PartName="/ppt/notesSlides/notesSlide175.xml" ContentType="application/vnd.openxmlformats-officedocument.presentationml.notesSlide+xml"/>
  <Override PartName="/ppt/charts/chart455.xml" ContentType="application/vnd.openxmlformats-officedocument.drawingml.chart+xml"/>
  <Override PartName="/ppt/charts/style119.xml" ContentType="application/vnd.ms-office.chartstyle+xml"/>
  <Override PartName="/ppt/charts/colors119.xml" ContentType="application/vnd.ms-office.chartcolorstyle+xml"/>
  <Override PartName="/ppt/tags/tag469.xml" ContentType="application/vnd.openxmlformats-officedocument.presentationml.tags+xml"/>
  <Override PartName="/ppt/notesSlides/notesSlide176.xml" ContentType="application/vnd.openxmlformats-officedocument.presentationml.notesSlide+xml"/>
  <Override PartName="/ppt/charts/chart456.xml" ContentType="application/vnd.openxmlformats-officedocument.drawingml.chart+xml"/>
  <Override PartName="/ppt/charts/style120.xml" ContentType="application/vnd.ms-office.chartstyle+xml"/>
  <Override PartName="/ppt/charts/colors120.xml" ContentType="application/vnd.ms-office.chartcolorstyle+xml"/>
  <Override PartName="/ppt/tags/tag470.xml" ContentType="application/vnd.openxmlformats-officedocument.presentationml.tags+xml"/>
  <Override PartName="/ppt/notesSlides/notesSlide177.xml" ContentType="application/vnd.openxmlformats-officedocument.presentationml.notesSlide+xml"/>
  <Override PartName="/ppt/charts/chart457.xml" ContentType="application/vnd.openxmlformats-officedocument.drawingml.chart+xml"/>
  <Override PartName="/ppt/charts/style121.xml" ContentType="application/vnd.ms-office.chartstyle+xml"/>
  <Override PartName="/ppt/charts/colors121.xml" ContentType="application/vnd.ms-office.chartcolorstyle+xml"/>
  <Override PartName="/ppt/tags/tag471.xml" ContentType="application/vnd.openxmlformats-officedocument.presentationml.tags+xml"/>
  <Override PartName="/ppt/notesSlides/notesSlide178.xml" ContentType="application/vnd.openxmlformats-officedocument.presentationml.notesSlide+xml"/>
  <Override PartName="/ppt/charts/chart458.xml" ContentType="application/vnd.openxmlformats-officedocument.drawingml.chart+xml"/>
  <Override PartName="/ppt/charts/style122.xml" ContentType="application/vnd.ms-office.chartstyle+xml"/>
  <Override PartName="/ppt/charts/colors122.xml" ContentType="application/vnd.ms-office.chartcolorstyle+xml"/>
  <Override PartName="/ppt/tags/tag472.xml" ContentType="application/vnd.openxmlformats-officedocument.presentationml.tags+xml"/>
  <Override PartName="/ppt/notesSlides/notesSlide179.xml" ContentType="application/vnd.openxmlformats-officedocument.presentationml.notesSlide+xml"/>
  <Override PartName="/ppt/charts/chart459.xml" ContentType="application/vnd.openxmlformats-officedocument.drawingml.chart+xml"/>
  <Override PartName="/ppt/charts/style123.xml" ContentType="application/vnd.ms-office.chartstyle+xml"/>
  <Override PartName="/ppt/charts/colors123.xml" ContentType="application/vnd.ms-office.chartcolorstyle+xml"/>
  <Override PartName="/ppt/tags/tag473.xml" ContentType="application/vnd.openxmlformats-officedocument.presentationml.tags+xml"/>
  <Override PartName="/ppt/notesSlides/notesSlide180.xml" ContentType="application/vnd.openxmlformats-officedocument.presentationml.notesSlide+xml"/>
  <Override PartName="/ppt/charts/chart460.xml" ContentType="application/vnd.openxmlformats-officedocument.drawingml.chart+xml"/>
  <Override PartName="/ppt/charts/style124.xml" ContentType="application/vnd.ms-office.chartstyle+xml"/>
  <Override PartName="/ppt/charts/colors124.xml" ContentType="application/vnd.ms-office.chartcolorstyle+xml"/>
  <Override PartName="/ppt/tags/tag474.xml" ContentType="application/vnd.openxmlformats-officedocument.presentationml.tags+xml"/>
  <Override PartName="/ppt/notesSlides/notesSlide181.xml" ContentType="application/vnd.openxmlformats-officedocument.presentationml.notesSlide+xml"/>
  <Override PartName="/ppt/charts/chart461.xml" ContentType="application/vnd.openxmlformats-officedocument.drawingml.chart+xml"/>
  <Override PartName="/ppt/charts/style125.xml" ContentType="application/vnd.ms-office.chartstyle+xml"/>
  <Override PartName="/ppt/charts/colors125.xml" ContentType="application/vnd.ms-office.chartcolorstyle+xml"/>
  <Override PartName="/ppt/tags/tag475.xml" ContentType="application/vnd.openxmlformats-officedocument.presentationml.tags+xml"/>
  <Override PartName="/ppt/notesSlides/notesSlide182.xml" ContentType="application/vnd.openxmlformats-officedocument.presentationml.notesSlide+xml"/>
  <Override PartName="/ppt/charts/chart462.xml" ContentType="application/vnd.openxmlformats-officedocument.drawingml.chart+xml"/>
  <Override PartName="/ppt/charts/style126.xml" ContentType="application/vnd.ms-office.chartstyle+xml"/>
  <Override PartName="/ppt/charts/colors126.xml" ContentType="application/vnd.ms-office.chartcolorstyle+xml"/>
  <Override PartName="/ppt/tags/tag476.xml" ContentType="application/vnd.openxmlformats-officedocument.presentationml.tags+xml"/>
  <Override PartName="/ppt/notesSlides/notesSlide183.xml" ContentType="application/vnd.openxmlformats-officedocument.presentationml.notesSlide+xml"/>
  <Override PartName="/ppt/charts/chart463.xml" ContentType="application/vnd.openxmlformats-officedocument.drawingml.chart+xml"/>
  <Override PartName="/ppt/charts/style127.xml" ContentType="application/vnd.ms-office.chartstyle+xml"/>
  <Override PartName="/ppt/charts/colors127.xml" ContentType="application/vnd.ms-office.chartcolorstyle+xml"/>
  <Override PartName="/ppt/tags/tag477.xml" ContentType="application/vnd.openxmlformats-officedocument.presentationml.tags+xml"/>
  <Override PartName="/ppt/notesSlides/notesSlide184.xml" ContentType="application/vnd.openxmlformats-officedocument.presentationml.notesSlide+xml"/>
  <Override PartName="/ppt/charts/chart464.xml" ContentType="application/vnd.openxmlformats-officedocument.drawingml.chart+xml"/>
  <Override PartName="/ppt/charts/style128.xml" ContentType="application/vnd.ms-office.chartstyle+xml"/>
  <Override PartName="/ppt/charts/colors128.xml" ContentType="application/vnd.ms-office.chartcolorstyle+xml"/>
  <Override PartName="/ppt/tags/tag478.xml" ContentType="application/vnd.openxmlformats-officedocument.presentationml.tags+xml"/>
  <Override PartName="/ppt/notesSlides/notesSlide185.xml" ContentType="application/vnd.openxmlformats-officedocument.presentationml.notesSlide+xml"/>
  <Override PartName="/ppt/charts/chart465.xml" ContentType="application/vnd.openxmlformats-officedocument.drawingml.chart+xml"/>
  <Override PartName="/ppt/charts/style129.xml" ContentType="application/vnd.ms-office.chartstyle+xml"/>
  <Override PartName="/ppt/charts/colors129.xml" ContentType="application/vnd.ms-office.chartcolorstyle+xml"/>
  <Override PartName="/ppt/tags/tag479.xml" ContentType="application/vnd.openxmlformats-officedocument.presentationml.tags+xml"/>
  <Override PartName="/ppt/notesSlides/notesSlide186.xml" ContentType="application/vnd.openxmlformats-officedocument.presentationml.notesSlide+xml"/>
  <Override PartName="/ppt/charts/chart466.xml" ContentType="application/vnd.openxmlformats-officedocument.drawingml.chart+xml"/>
  <Override PartName="/ppt/charts/style130.xml" ContentType="application/vnd.ms-office.chartstyle+xml"/>
  <Override PartName="/ppt/charts/colors130.xml" ContentType="application/vnd.ms-office.chartcolorstyle+xml"/>
  <Override PartName="/ppt/tags/tag480.xml" ContentType="application/vnd.openxmlformats-officedocument.presentationml.tags+xml"/>
  <Override PartName="/ppt/notesSlides/notesSlide187.xml" ContentType="application/vnd.openxmlformats-officedocument.presentationml.notesSlide+xml"/>
  <Override PartName="/ppt/charts/chart467.xml" ContentType="application/vnd.openxmlformats-officedocument.drawingml.chart+xml"/>
  <Override PartName="/ppt/charts/style131.xml" ContentType="application/vnd.ms-office.chartstyle+xml"/>
  <Override PartName="/ppt/charts/colors131.xml" ContentType="application/vnd.ms-office.chartcolorstyle+xml"/>
  <Override PartName="/ppt/tags/tag481.xml" ContentType="application/vnd.openxmlformats-officedocument.presentationml.tags+xml"/>
  <Override PartName="/ppt/notesSlides/notesSlide188.xml" ContentType="application/vnd.openxmlformats-officedocument.presentationml.notesSlide+xml"/>
  <Override PartName="/ppt/charts/chart468.xml" ContentType="application/vnd.openxmlformats-officedocument.drawingml.chart+xml"/>
  <Override PartName="/ppt/charts/style132.xml" ContentType="application/vnd.ms-office.chartstyle+xml"/>
  <Override PartName="/ppt/charts/colors132.xml" ContentType="application/vnd.ms-office.chartcolorstyle+xml"/>
  <Override PartName="/ppt/tags/tag482.xml" ContentType="application/vnd.openxmlformats-officedocument.presentationml.tags+xml"/>
  <Override PartName="/ppt/notesSlides/notesSlide189.xml" ContentType="application/vnd.openxmlformats-officedocument.presentationml.notesSlide+xml"/>
  <Override PartName="/ppt/charts/chart469.xml" ContentType="application/vnd.openxmlformats-officedocument.drawingml.chart+xml"/>
  <Override PartName="/ppt/charts/style133.xml" ContentType="application/vnd.ms-office.chartstyle+xml"/>
  <Override PartName="/ppt/charts/colors133.xml" ContentType="application/vnd.ms-office.chartcolorstyle+xml"/>
  <Override PartName="/ppt/tags/tag483.xml" ContentType="application/vnd.openxmlformats-officedocument.presentationml.tags+xml"/>
  <Override PartName="/ppt/notesSlides/notesSlide190.xml" ContentType="application/vnd.openxmlformats-officedocument.presentationml.notesSlide+xml"/>
  <Override PartName="/ppt/charts/chart470.xml" ContentType="application/vnd.openxmlformats-officedocument.drawingml.chart+xml"/>
  <Override PartName="/ppt/charts/style134.xml" ContentType="application/vnd.ms-office.chartstyle+xml"/>
  <Override PartName="/ppt/charts/colors134.xml" ContentType="application/vnd.ms-office.chartcolorstyle+xml"/>
  <Override PartName="/ppt/tags/tag484.xml" ContentType="application/vnd.openxmlformats-officedocument.presentationml.tags+xml"/>
  <Override PartName="/ppt/notesSlides/notesSlide191.xml" ContentType="application/vnd.openxmlformats-officedocument.presentationml.notesSlide+xml"/>
  <Override PartName="/ppt/charts/chart471.xml" ContentType="application/vnd.openxmlformats-officedocument.drawingml.chart+xml"/>
  <Override PartName="/ppt/charts/style135.xml" ContentType="application/vnd.ms-office.chartstyle+xml"/>
  <Override PartName="/ppt/charts/colors135.xml" ContentType="application/vnd.ms-office.chartcolorstyle+xml"/>
  <Override PartName="/ppt/tags/tag485.xml" ContentType="application/vnd.openxmlformats-officedocument.presentationml.tags+xml"/>
  <Override PartName="/ppt/notesSlides/notesSlide192.xml" ContentType="application/vnd.openxmlformats-officedocument.presentationml.notesSlide+xml"/>
  <Override PartName="/ppt/charts/chart472.xml" ContentType="application/vnd.openxmlformats-officedocument.drawingml.chart+xml"/>
  <Override PartName="/ppt/charts/style136.xml" ContentType="application/vnd.ms-office.chartstyle+xml"/>
  <Override PartName="/ppt/charts/colors136.xml" ContentType="application/vnd.ms-office.chartcolorstyle+xml"/>
  <Override PartName="/ppt/tags/tag486.xml" ContentType="application/vnd.openxmlformats-officedocument.presentationml.tags+xml"/>
  <Override PartName="/ppt/notesSlides/notesSlide193.xml" ContentType="application/vnd.openxmlformats-officedocument.presentationml.notesSlide+xml"/>
  <Override PartName="/ppt/charts/chart473.xml" ContentType="application/vnd.openxmlformats-officedocument.drawingml.chart+xml"/>
  <Override PartName="/ppt/charts/style137.xml" ContentType="application/vnd.ms-office.chartstyle+xml"/>
  <Override PartName="/ppt/charts/colors137.xml" ContentType="application/vnd.ms-office.chartcolorstyle+xml"/>
  <Override PartName="/ppt/tags/tag487.xml" ContentType="application/vnd.openxmlformats-officedocument.presentationml.tags+xml"/>
  <Override PartName="/ppt/notesSlides/notesSlide194.xml" ContentType="application/vnd.openxmlformats-officedocument.presentationml.notesSlide+xml"/>
  <Override PartName="/ppt/charts/chart474.xml" ContentType="application/vnd.openxmlformats-officedocument.drawingml.chart+xml"/>
  <Override PartName="/ppt/charts/style138.xml" ContentType="application/vnd.ms-office.chartstyle+xml"/>
  <Override PartName="/ppt/charts/colors138.xml" ContentType="application/vnd.ms-office.chartcolorstyle+xml"/>
  <Override PartName="/ppt/tags/tag488.xml" ContentType="application/vnd.openxmlformats-officedocument.presentationml.tags+xml"/>
  <Override PartName="/ppt/notesSlides/notesSlide195.xml" ContentType="application/vnd.openxmlformats-officedocument.presentationml.notesSlide+xml"/>
  <Override PartName="/ppt/charts/chart475.xml" ContentType="application/vnd.openxmlformats-officedocument.drawingml.chart+xml"/>
  <Override PartName="/ppt/charts/style139.xml" ContentType="application/vnd.ms-office.chartstyle+xml"/>
  <Override PartName="/ppt/charts/colors139.xml" ContentType="application/vnd.ms-office.chartcolorstyle+xml"/>
  <Override PartName="/ppt/tags/tag489.xml" ContentType="application/vnd.openxmlformats-officedocument.presentationml.tags+xml"/>
  <Override PartName="/ppt/notesSlides/notesSlide196.xml" ContentType="application/vnd.openxmlformats-officedocument.presentationml.notesSlide+xml"/>
  <Override PartName="/ppt/charts/chart476.xml" ContentType="application/vnd.openxmlformats-officedocument.drawingml.chart+xml"/>
  <Override PartName="/ppt/charts/style140.xml" ContentType="application/vnd.ms-office.chartstyle+xml"/>
  <Override PartName="/ppt/charts/colors140.xml" ContentType="application/vnd.ms-office.chartcolorstyle+xml"/>
  <Override PartName="/ppt/tags/tag490.xml" ContentType="application/vnd.openxmlformats-officedocument.presentationml.tags+xml"/>
  <Override PartName="/ppt/notesSlides/notesSlide197.xml" ContentType="application/vnd.openxmlformats-officedocument.presentationml.notesSlide+xml"/>
  <Override PartName="/ppt/charts/chart477.xml" ContentType="application/vnd.openxmlformats-officedocument.drawingml.chart+xml"/>
  <Override PartName="/ppt/charts/style141.xml" ContentType="application/vnd.ms-office.chartstyle+xml"/>
  <Override PartName="/ppt/charts/colors141.xml" ContentType="application/vnd.ms-office.chartcolorstyle+xml"/>
  <Override PartName="/ppt/tags/tag491.xml" ContentType="application/vnd.openxmlformats-officedocument.presentationml.tags+xml"/>
  <Override PartName="/ppt/notesSlides/notesSlide198.xml" ContentType="application/vnd.openxmlformats-officedocument.presentationml.notesSlide+xml"/>
  <Override PartName="/ppt/charts/chart478.xml" ContentType="application/vnd.openxmlformats-officedocument.drawingml.chart+xml"/>
  <Override PartName="/ppt/charts/style142.xml" ContentType="application/vnd.ms-office.chartstyle+xml"/>
  <Override PartName="/ppt/charts/colors142.xml" ContentType="application/vnd.ms-office.chartcolorstyle+xml"/>
  <Override PartName="/ppt/tags/tag492.xml" ContentType="application/vnd.openxmlformats-officedocument.presentationml.tags+xml"/>
  <Override PartName="/ppt/notesSlides/notesSlide199.xml" ContentType="application/vnd.openxmlformats-officedocument.presentationml.notesSlide+xml"/>
  <Override PartName="/ppt/charts/chart479.xml" ContentType="application/vnd.openxmlformats-officedocument.drawingml.chart+xml"/>
  <Override PartName="/ppt/charts/style143.xml" ContentType="application/vnd.ms-office.chartstyle+xml"/>
  <Override PartName="/ppt/charts/colors143.xml" ContentType="application/vnd.ms-office.chartcolorstyle+xml"/>
  <Override PartName="/ppt/tags/tag493.xml" ContentType="application/vnd.openxmlformats-officedocument.presentationml.tags+xml"/>
  <Override PartName="/ppt/notesSlides/notesSlide200.xml" ContentType="application/vnd.openxmlformats-officedocument.presentationml.notesSlide+xml"/>
  <Override PartName="/ppt/charts/chart480.xml" ContentType="application/vnd.openxmlformats-officedocument.drawingml.chart+xml"/>
  <Override PartName="/ppt/charts/style144.xml" ContentType="application/vnd.ms-office.chartstyle+xml"/>
  <Override PartName="/ppt/charts/colors144.xml" ContentType="application/vnd.ms-office.chartcolorstyle+xml"/>
  <Override PartName="/ppt/tags/tag494.xml" ContentType="application/vnd.openxmlformats-officedocument.presentationml.tags+xml"/>
  <Override PartName="/ppt/notesSlides/notesSlide201.xml" ContentType="application/vnd.openxmlformats-officedocument.presentationml.notesSlide+xml"/>
  <Override PartName="/ppt/charts/chart481.xml" ContentType="application/vnd.openxmlformats-officedocument.drawingml.chart+xml"/>
  <Override PartName="/ppt/charts/style145.xml" ContentType="application/vnd.ms-office.chartstyle+xml"/>
  <Override PartName="/ppt/charts/colors145.xml" ContentType="application/vnd.ms-office.chartcolorstyle+xml"/>
  <Override PartName="/ppt/tags/tag495.xml" ContentType="application/vnd.openxmlformats-officedocument.presentationml.tags+xml"/>
  <Override PartName="/ppt/notesSlides/notesSlide202.xml" ContentType="application/vnd.openxmlformats-officedocument.presentationml.notesSlide+xml"/>
  <Override PartName="/ppt/charts/chart482.xml" ContentType="application/vnd.openxmlformats-officedocument.drawingml.chart+xml"/>
  <Override PartName="/ppt/charts/style146.xml" ContentType="application/vnd.ms-office.chartstyle+xml"/>
  <Override PartName="/ppt/charts/colors146.xml" ContentType="application/vnd.ms-office.chartcolorstyle+xml"/>
  <Override PartName="/ppt/tags/tag496.xml" ContentType="application/vnd.openxmlformats-officedocument.presentationml.tags+xml"/>
  <Override PartName="/ppt/notesSlides/notesSlide203.xml" ContentType="application/vnd.openxmlformats-officedocument.presentationml.notesSlide+xml"/>
  <Override PartName="/ppt/charts/chart483.xml" ContentType="application/vnd.openxmlformats-officedocument.drawingml.chart+xml"/>
  <Override PartName="/ppt/charts/style147.xml" ContentType="application/vnd.ms-office.chartstyle+xml"/>
  <Override PartName="/ppt/charts/colors147.xml" ContentType="application/vnd.ms-office.chartcolorstyle+xml"/>
  <Override PartName="/ppt/tags/tag497.xml" ContentType="application/vnd.openxmlformats-officedocument.presentationml.tags+xml"/>
  <Override PartName="/ppt/notesSlides/notesSlide204.xml" ContentType="application/vnd.openxmlformats-officedocument.presentationml.notesSlide+xml"/>
  <Override PartName="/ppt/charts/chart484.xml" ContentType="application/vnd.openxmlformats-officedocument.drawingml.chart+xml"/>
  <Override PartName="/ppt/charts/style148.xml" ContentType="application/vnd.ms-office.chartstyle+xml"/>
  <Override PartName="/ppt/charts/colors148.xml" ContentType="application/vnd.ms-office.chartcolorstyle+xml"/>
  <Override PartName="/ppt/tags/tag498.xml" ContentType="application/vnd.openxmlformats-officedocument.presentationml.tags+xml"/>
  <Override PartName="/ppt/notesSlides/notesSlide205.xml" ContentType="application/vnd.openxmlformats-officedocument.presentationml.notesSlide+xml"/>
  <Override PartName="/ppt/charts/chart485.xml" ContentType="application/vnd.openxmlformats-officedocument.drawingml.chart+xml"/>
  <Override PartName="/ppt/charts/style149.xml" ContentType="application/vnd.ms-office.chartstyle+xml"/>
  <Override PartName="/ppt/charts/colors149.xml" ContentType="application/vnd.ms-office.chartcolorstyle+xml"/>
  <Override PartName="/ppt/tags/tag499.xml" ContentType="application/vnd.openxmlformats-officedocument.presentationml.tags+xml"/>
  <Override PartName="/ppt/notesSlides/notesSlide206.xml" ContentType="application/vnd.openxmlformats-officedocument.presentationml.notesSlide+xml"/>
  <Override PartName="/ppt/charts/chart486.xml" ContentType="application/vnd.openxmlformats-officedocument.drawingml.chart+xml"/>
  <Override PartName="/ppt/charts/style150.xml" ContentType="application/vnd.ms-office.chartstyle+xml"/>
  <Override PartName="/ppt/charts/colors150.xml" ContentType="application/vnd.ms-office.chartcolorstyle+xml"/>
  <Override PartName="/ppt/tags/tag500.xml" ContentType="application/vnd.openxmlformats-officedocument.presentationml.tags+xml"/>
  <Override PartName="/ppt/notesSlides/notesSlide207.xml" ContentType="application/vnd.openxmlformats-officedocument.presentationml.notesSlide+xml"/>
  <Override PartName="/ppt/charts/chart487.xml" ContentType="application/vnd.openxmlformats-officedocument.drawingml.chart+xml"/>
  <Override PartName="/ppt/charts/style151.xml" ContentType="application/vnd.ms-office.chartstyle+xml"/>
  <Override PartName="/ppt/charts/colors151.xml" ContentType="application/vnd.ms-office.chartcolorstyle+xml"/>
  <Override PartName="/ppt/tags/tag501.xml" ContentType="application/vnd.openxmlformats-officedocument.presentationml.tags+xml"/>
  <Override PartName="/ppt/notesSlides/notesSlide208.xml" ContentType="application/vnd.openxmlformats-officedocument.presentationml.notesSlide+xml"/>
  <Override PartName="/ppt/charts/chart488.xml" ContentType="application/vnd.openxmlformats-officedocument.drawingml.chart+xml"/>
  <Override PartName="/ppt/charts/style152.xml" ContentType="application/vnd.ms-office.chartstyle+xml"/>
  <Override PartName="/ppt/charts/colors152.xml" ContentType="application/vnd.ms-office.chartcolorstyle+xml"/>
  <Override PartName="/ppt/tags/tag502.xml" ContentType="application/vnd.openxmlformats-officedocument.presentationml.tags+xml"/>
  <Override PartName="/ppt/notesSlides/notesSlide209.xml" ContentType="application/vnd.openxmlformats-officedocument.presentationml.notesSlide+xml"/>
  <Override PartName="/ppt/charts/chart489.xml" ContentType="application/vnd.openxmlformats-officedocument.drawingml.chart+xml"/>
  <Override PartName="/ppt/charts/style153.xml" ContentType="application/vnd.ms-office.chartstyle+xml"/>
  <Override PartName="/ppt/charts/colors153.xml" ContentType="application/vnd.ms-office.chartcolorstyle+xml"/>
  <Override PartName="/ppt/tags/tag503.xml" ContentType="application/vnd.openxmlformats-officedocument.presentationml.tags+xml"/>
  <Override PartName="/ppt/notesSlides/notesSlide210.xml" ContentType="application/vnd.openxmlformats-officedocument.presentationml.notesSlide+xml"/>
  <Override PartName="/ppt/charts/chart490.xml" ContentType="application/vnd.openxmlformats-officedocument.drawingml.chart+xml"/>
  <Override PartName="/ppt/charts/style154.xml" ContentType="application/vnd.ms-office.chartstyle+xml"/>
  <Override PartName="/ppt/charts/colors154.xml" ContentType="application/vnd.ms-office.chartcolorstyle+xml"/>
  <Override PartName="/ppt/tags/tag504.xml" ContentType="application/vnd.openxmlformats-officedocument.presentationml.tags+xml"/>
  <Override PartName="/ppt/notesSlides/notesSlide211.xml" ContentType="application/vnd.openxmlformats-officedocument.presentationml.notesSlide+xml"/>
  <Override PartName="/ppt/charts/chart491.xml" ContentType="application/vnd.openxmlformats-officedocument.drawingml.chart+xml"/>
  <Override PartName="/ppt/charts/style155.xml" ContentType="application/vnd.ms-office.chartstyle+xml"/>
  <Override PartName="/ppt/charts/colors155.xml" ContentType="application/vnd.ms-office.chartcolorstyle+xml"/>
  <Override PartName="/ppt/tags/tag505.xml" ContentType="application/vnd.openxmlformats-officedocument.presentationml.tags+xml"/>
  <Override PartName="/ppt/notesSlides/notesSlide212.xml" ContentType="application/vnd.openxmlformats-officedocument.presentationml.notesSlide+xml"/>
  <Override PartName="/ppt/charts/chart492.xml" ContentType="application/vnd.openxmlformats-officedocument.drawingml.chart+xml"/>
  <Override PartName="/ppt/charts/style156.xml" ContentType="application/vnd.ms-office.chartstyle+xml"/>
  <Override PartName="/ppt/charts/colors156.xml" ContentType="application/vnd.ms-office.chartcolorstyle+xml"/>
  <Override PartName="/ppt/tags/tag506.xml" ContentType="application/vnd.openxmlformats-officedocument.presentationml.tags+xml"/>
  <Override PartName="/ppt/notesSlides/notesSlide213.xml" ContentType="application/vnd.openxmlformats-officedocument.presentationml.notesSlide+xml"/>
  <Override PartName="/ppt/charts/chart493.xml" ContentType="application/vnd.openxmlformats-officedocument.drawingml.chart+xml"/>
  <Override PartName="/ppt/charts/style157.xml" ContentType="application/vnd.ms-office.chartstyle+xml"/>
  <Override PartName="/ppt/charts/colors157.xml" ContentType="application/vnd.ms-office.chartcolorstyle+xml"/>
  <Override PartName="/ppt/tags/tag507.xml" ContentType="application/vnd.openxmlformats-officedocument.presentationml.tags+xml"/>
  <Override PartName="/ppt/notesSlides/notesSlide214.xml" ContentType="application/vnd.openxmlformats-officedocument.presentationml.notesSlide+xml"/>
  <Override PartName="/ppt/charts/chart494.xml" ContentType="application/vnd.openxmlformats-officedocument.drawingml.chart+xml"/>
  <Override PartName="/ppt/charts/style158.xml" ContentType="application/vnd.ms-office.chartstyle+xml"/>
  <Override PartName="/ppt/charts/colors158.xml" ContentType="application/vnd.ms-office.chartcolorstyle+xml"/>
  <Override PartName="/ppt/tags/tag508.xml" ContentType="application/vnd.openxmlformats-officedocument.presentationml.tags+xml"/>
  <Override PartName="/ppt/notesSlides/notesSlide215.xml" ContentType="application/vnd.openxmlformats-officedocument.presentationml.notesSlide+xml"/>
  <Override PartName="/ppt/charts/chart495.xml" ContentType="application/vnd.openxmlformats-officedocument.drawingml.chart+xml"/>
  <Override PartName="/ppt/charts/style159.xml" ContentType="application/vnd.ms-office.chartstyle+xml"/>
  <Override PartName="/ppt/charts/colors159.xml" ContentType="application/vnd.ms-office.chartcolorstyle+xml"/>
  <Override PartName="/ppt/tags/tag509.xml" ContentType="application/vnd.openxmlformats-officedocument.presentationml.tags+xml"/>
  <Override PartName="/ppt/notesSlides/notesSlide216.xml" ContentType="application/vnd.openxmlformats-officedocument.presentationml.notesSlide+xml"/>
  <Override PartName="/ppt/charts/chart496.xml" ContentType="application/vnd.openxmlformats-officedocument.drawingml.chart+xml"/>
  <Override PartName="/ppt/charts/style160.xml" ContentType="application/vnd.ms-office.chartstyle+xml"/>
  <Override PartName="/ppt/charts/colors160.xml" ContentType="application/vnd.ms-office.chartcolorstyle+xml"/>
  <Override PartName="/ppt/tags/tag510.xml" ContentType="application/vnd.openxmlformats-officedocument.presentationml.tags+xml"/>
  <Override PartName="/ppt/notesSlides/notesSlide217.xml" ContentType="application/vnd.openxmlformats-officedocument.presentationml.notesSlide+xml"/>
  <Override PartName="/ppt/charts/chart497.xml" ContentType="application/vnd.openxmlformats-officedocument.drawingml.chart+xml"/>
  <Override PartName="/ppt/charts/style161.xml" ContentType="application/vnd.ms-office.chartstyle+xml"/>
  <Override PartName="/ppt/charts/colors161.xml" ContentType="application/vnd.ms-office.chartcolorstyle+xml"/>
  <Override PartName="/ppt/tags/tag511.xml" ContentType="application/vnd.openxmlformats-officedocument.presentationml.tags+xml"/>
  <Override PartName="/ppt/notesSlides/notesSlide218.xml" ContentType="application/vnd.openxmlformats-officedocument.presentationml.notesSlide+xml"/>
  <Override PartName="/ppt/charts/chart498.xml" ContentType="application/vnd.openxmlformats-officedocument.drawingml.chart+xml"/>
  <Override PartName="/ppt/charts/style162.xml" ContentType="application/vnd.ms-office.chartstyle+xml"/>
  <Override PartName="/ppt/charts/colors162.xml" ContentType="application/vnd.ms-office.chartcolorstyle+xml"/>
  <Override PartName="/ppt/tags/tag512.xml" ContentType="application/vnd.openxmlformats-officedocument.presentationml.tags+xml"/>
  <Override PartName="/ppt/notesSlides/notesSlide219.xml" ContentType="application/vnd.openxmlformats-officedocument.presentationml.notesSlide+xml"/>
  <Override PartName="/ppt/charts/chart499.xml" ContentType="application/vnd.openxmlformats-officedocument.drawingml.chart+xml"/>
  <Override PartName="/ppt/charts/style163.xml" ContentType="application/vnd.ms-office.chartstyle+xml"/>
  <Override PartName="/ppt/charts/colors163.xml" ContentType="application/vnd.ms-office.chartcolorstyle+xml"/>
  <Override PartName="/ppt/tags/tag513.xml" ContentType="application/vnd.openxmlformats-officedocument.presentationml.tags+xml"/>
  <Override PartName="/ppt/notesSlides/notesSlide220.xml" ContentType="application/vnd.openxmlformats-officedocument.presentationml.notesSlide+xml"/>
  <Override PartName="/ppt/charts/chart500.xml" ContentType="application/vnd.openxmlformats-officedocument.drawingml.chart+xml"/>
  <Override PartName="/ppt/charts/style164.xml" ContentType="application/vnd.ms-office.chartstyle+xml"/>
  <Override PartName="/ppt/charts/colors164.xml" ContentType="application/vnd.ms-office.chartcolorstyle+xml"/>
  <Override PartName="/ppt/tags/tag514.xml" ContentType="application/vnd.openxmlformats-officedocument.presentationml.tags+xml"/>
  <Override PartName="/ppt/notesSlides/notesSlide221.xml" ContentType="application/vnd.openxmlformats-officedocument.presentationml.notesSlide+xml"/>
  <Override PartName="/ppt/charts/chart501.xml" ContentType="application/vnd.openxmlformats-officedocument.drawingml.chart+xml"/>
  <Override PartName="/ppt/charts/style165.xml" ContentType="application/vnd.ms-office.chartstyle+xml"/>
  <Override PartName="/ppt/charts/colors165.xml" ContentType="application/vnd.ms-office.chartcolorstyle+xml"/>
  <Override PartName="/ppt/tags/tag515.xml" ContentType="application/vnd.openxmlformats-officedocument.presentationml.tags+xml"/>
  <Override PartName="/ppt/notesSlides/notesSlide222.xml" ContentType="application/vnd.openxmlformats-officedocument.presentationml.notesSlide+xml"/>
  <Override PartName="/ppt/charts/chart502.xml" ContentType="application/vnd.openxmlformats-officedocument.drawingml.chart+xml"/>
  <Override PartName="/ppt/charts/style166.xml" ContentType="application/vnd.ms-office.chartstyle+xml"/>
  <Override PartName="/ppt/charts/colors166.xml" ContentType="application/vnd.ms-office.chartcolorstyle+xml"/>
  <Override PartName="/ppt/tags/tag516.xml" ContentType="application/vnd.openxmlformats-officedocument.presentationml.tags+xml"/>
  <Override PartName="/ppt/notesSlides/notesSlide223.xml" ContentType="application/vnd.openxmlformats-officedocument.presentationml.notesSlide+xml"/>
  <Override PartName="/ppt/charts/chart503.xml" ContentType="application/vnd.openxmlformats-officedocument.drawingml.chart+xml"/>
  <Override PartName="/ppt/charts/style167.xml" ContentType="application/vnd.ms-office.chartstyle+xml"/>
  <Override PartName="/ppt/charts/colors167.xml" ContentType="application/vnd.ms-office.chartcolorstyle+xml"/>
  <Override PartName="/ppt/tags/tag517.xml" ContentType="application/vnd.openxmlformats-officedocument.presentationml.tags+xml"/>
  <Override PartName="/ppt/notesSlides/notesSlide224.xml" ContentType="application/vnd.openxmlformats-officedocument.presentationml.notesSlide+xml"/>
  <Override PartName="/ppt/charts/chart504.xml" ContentType="application/vnd.openxmlformats-officedocument.drawingml.chart+xml"/>
  <Override PartName="/ppt/charts/style168.xml" ContentType="application/vnd.ms-office.chartstyle+xml"/>
  <Override PartName="/ppt/charts/colors168.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9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B7508A63-5D04-47A3-8517-70F247885D93}">
          <p14:sldIdLst>
            <p14:sldId id="2147477365"/>
            <p14:sldId id="2147477366"/>
            <p14:sldId id="2147477367"/>
            <p14:sldId id="2147477368"/>
            <p14:sldId id="2147477369"/>
            <p14:sldId id="2147477370"/>
            <p14:sldId id="2147477371"/>
          </p14:sldIdLst>
        </p14:section>
        <p14:section name="Price Positioning Summary Sector" id="{942F363D-F0E1-4B53-9E67-27BD19F75A5D}">
          <p14:sldIdLst>
            <p14:sldId id="2147477372"/>
            <p14:sldId id="2147477373"/>
            <p14:sldId id="2147477374"/>
            <p14:sldId id="2147477375"/>
            <p14:sldId id="2147477376"/>
            <p14:sldId id="2147477377"/>
            <p14:sldId id="2147477378"/>
          </p14:sldIdLst>
        </p14:section>
        <p14:section name="Price Positioning Summary Segment" id="{D62D972A-8278-4B4C-83D0-B9E466267E4A}">
          <p14:sldIdLst>
            <p14:sldId id="2147477379"/>
            <p14:sldId id="2147477380"/>
            <p14:sldId id="2147477381"/>
            <p14:sldId id="2147477382"/>
            <p14:sldId id="2147477383"/>
            <p14:sldId id="2147477384"/>
            <p14:sldId id="2147477385"/>
          </p14:sldIdLst>
        </p14:section>
        <p14:section name="Price Positioning Summary Subsegment" id="{FF61709D-EB2D-4CFD-9C87-490B4E015DE2}">
          <p14:sldIdLst>
            <p14:sldId id="2147477386"/>
            <p14:sldId id="2147477387"/>
            <p14:sldId id="2147477388"/>
            <p14:sldId id="2147477389"/>
            <p14:sldId id="2147477390"/>
            <p14:sldId id="2147477391"/>
            <p14:sldId id="2147477392"/>
          </p14:sldIdLst>
        </p14:section>
        <p14:section name="Price Positioning Summary SubCategory" id="{65E56C9E-8590-4843-8733-0B1BEA2F9A38}">
          <p14:sldIdLst>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 name="Price Positioning Analysis By Brands" id="{0A45B9F0-4321-4ACF-94A1-12128CBD5583}">
          <p14:sldIdLst>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Lst>
        </p14:section>
        <p14:section name="Price Positioning Analysis By Manufacturer" id="{056F6053-3BA7-46A2-A498-6897D6C41A81}">
          <p14:sldIdLst>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Lst>
        </p14:section>
        <p14:section name="Sectors Share and Growth By Brands" id="{C2FEFAB8-9C10-449B-BC22-79F251540742}">
          <p14:sldIdLst>
            <p14:sldId id="2147477631"/>
            <p14:sldId id="2147477632"/>
            <p14:sldId id="2147477633"/>
            <p14:sldId id="2147477634"/>
            <p14:sldId id="2147477635"/>
            <p14:sldId id="2147477636"/>
            <p14:sldId id="2147477637"/>
          </p14:sldIdLst>
        </p14:section>
        <p14:section name="Segments Share and Growth By Brands" id="{04CC6DC4-8007-4304-822D-79F914646412}">
          <p14:sldIdLst>
            <p14:sldId id="2147477638"/>
            <p14:sldId id="2147477639"/>
            <p14:sldId id="2147477640"/>
            <p14:sldId id="2147477641"/>
            <p14:sldId id="2147477642"/>
            <p14:sldId id="2147477643"/>
            <p14:sldId id="2147477644"/>
          </p14:sldIdLst>
        </p14:section>
        <p14:section name="SubSegments Share and Growth By Brands" id="{90F8ED53-5D18-464F-9F41-CA6F9A0B3A96}">
          <p14:sldIdLst>
            <p14:sldId id="2147477645"/>
            <p14:sldId id="2147477646"/>
            <p14:sldId id="2147477647"/>
            <p14:sldId id="2147477648"/>
            <p14:sldId id="2147477649"/>
            <p14:sldId id="2147477650"/>
            <p14:sldId id="2147477651"/>
          </p14:sldIdLst>
        </p14:section>
        <p14:section name="SubCategory Share and Growth By Brands" id="{3B619CB6-C36E-4CFD-AE82-C37EF243A785}">
          <p14:sldIdLst>
            <p14:sldId id="2147477652"/>
            <p14:sldId id="2147477653"/>
            <p14:sldId id="2147477654"/>
            <p14:sldId id="2147477655"/>
            <p14:sldId id="2147477656"/>
            <p14:sldId id="2147477657"/>
            <p14:sldId id="2147477658"/>
          </p14:sldIdLst>
        </p14:section>
        <p14:section name="Sectors Share and Growth By Manufacturer" id="{29CCCAD0-CDB2-40F6-A306-22C162F24C61}">
          <p14:sldIdLst>
            <p14:sldId id="2147477659"/>
            <p14:sldId id="2147477660"/>
            <p14:sldId id="2147477661"/>
            <p14:sldId id="2147477662"/>
            <p14:sldId id="2147477663"/>
            <p14:sldId id="2147477664"/>
            <p14:sldId id="2147477665"/>
          </p14:sldIdLst>
        </p14:section>
        <p14:section name="Segments Share and Growth By Manufacturer" id="{7F5030FF-A79B-4BB8-81D4-4CAF7BFA8799}">
          <p14:sldIdLst>
            <p14:sldId id="2147477666"/>
            <p14:sldId id="2147477667"/>
            <p14:sldId id="2147477668"/>
            <p14:sldId id="2147477669"/>
            <p14:sldId id="2147477670"/>
            <p14:sldId id="2147477671"/>
            <p14:sldId id="2147477672"/>
          </p14:sldIdLst>
        </p14:section>
        <p14:section name="SubSegments Share and Growth By Manufacturer" id="{A2163BA6-EFE0-48D2-B2F4-5B4A935571F1}">
          <p14:sldIdLst>
            <p14:sldId id="2147477673"/>
            <p14:sldId id="2147477674"/>
            <p14:sldId id="2147477675"/>
            <p14:sldId id="2147477676"/>
            <p14:sldId id="2147477677"/>
            <p14:sldId id="2147477678"/>
            <p14:sldId id="2147477679"/>
          </p14:sldIdLst>
        </p14:section>
        <p14:section name="SubCategory Share and Growth By Manufacturer" id="{7A7A06B1-68CB-4EEC-B3B1-EED795808CA1}">
          <p14:sldIdLst>
            <p14:sldId id="2147477680"/>
            <p14:sldId id="2147477681"/>
            <p14:sldId id="2147477682"/>
            <p14:sldId id="2147477683"/>
            <p14:sldId id="2147477684"/>
            <p14:sldId id="2147477685"/>
            <p14:sldId id="2147477686"/>
          </p14:sldIdLst>
        </p14:section>
        <p14:section name="Sec/Seg Value Sales Vs Avg Price By Manufacturer" id="{5289170F-F904-4F20-AA4E-2F849B5C9449}">
          <p14:sldIdLst>
            <p14:sldId id="2147477687"/>
            <p14:sldId id="2147477688"/>
            <p14:sldId id="2147477689"/>
            <p14:sldId id="2147477690"/>
            <p14:sldId id="2147477691"/>
            <p14:sldId id="2147477692"/>
            <p14:sldId id="2147477693"/>
          </p14:sldIdLst>
        </p14:section>
        <p14:section name="Sec/Seg Value Sales Vs Avg Price" id="{A3726B65-0E72-4357-8F0B-C78672E2A9E1}">
          <p14:sldIdLst>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Lst>
        </p14:section>
        <p14:section name="Seg/SubSeg Value Sales Vs Avg Price By Manufacturer" id="{9D528C17-A793-4B12-8980-2095E057C7BD}">
          <p14:sldIdLst>
            <p14:sldId id="2147477715"/>
            <p14:sldId id="2147477716"/>
            <p14:sldId id="2147477717"/>
            <p14:sldId id="2147477718"/>
            <p14:sldId id="2147477719"/>
            <p14:sldId id="2147477720"/>
            <p14:sldId id="2147477721"/>
          </p14:sldIdLst>
        </p14:section>
        <p14:section name="Seg/SubSeg Value Sales Vs Avg Price" id="{C8667AAB-77B3-4E7A-832B-28790B834A99}">
          <p14:sldIdLst>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Lst>
        </p14:section>
        <p14:section name="Seg/SubCatg Value Sales Vs Avg Price By Manufacturer" id="{9D6299DB-46DE-4C09-85B3-F57B9B26F206}">
          <p14:sldIdLst>
            <p14:sldId id="2147477743"/>
            <p14:sldId id="2147477744"/>
            <p14:sldId id="2147477745"/>
            <p14:sldId id="2147477746"/>
            <p14:sldId id="2147477747"/>
            <p14:sldId id="2147477748"/>
            <p14:sldId id="2147477749"/>
          </p14:sldIdLst>
        </p14:section>
        <p14:section name="Seg/SubCatg Value Sales Vs Avg Price" id="{F436DEAB-45BE-4ECB-82EF-B9C5F53895E5}">
          <p14:sldIdLst>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Lst>
        </p14:section>
        <p14:section name="Sectors Value Sales Vs Avg Price" id="{03548721-D512-4064-BEA0-A6CAE104A97C}">
          <p14:sldIdLst>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Lst>
        </p14:section>
        <p14:section name="Segment Value Sales Vs Avg Price" id="{CDE2CFE8-3FF1-4217-8E87-1EA4C3FDB234}">
          <p14:sldIdLst>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Lst>
        </p14:section>
        <p14:section name="SubSegment Value Sales Vs Avg Price" id="{30EF55F1-0E6E-47FA-9D07-EEDB9715F845}">
          <p14:sldIdLst>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Lst>
        </p14:section>
        <p14:section name="SubCategory Value Sales Vs Avg Price" id="{904B90BE-BC93-4CF8-AB5A-679FF22940ED}">
          <p14:sldIdLst>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366" Type="http://schemas.openxmlformats.org/officeDocument/2006/relationships/slide" Target="slides/slide362.xml"/><Relationship Id="rId170" Type="http://schemas.openxmlformats.org/officeDocument/2006/relationships/slide" Target="slides/slide166.xml"/><Relationship Id="rId226" Type="http://schemas.openxmlformats.org/officeDocument/2006/relationships/slide" Target="slides/slide222.xml"/><Relationship Id="rId433" Type="http://schemas.openxmlformats.org/officeDocument/2006/relationships/slide" Target="slides/slide429.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335" Type="http://schemas.openxmlformats.org/officeDocument/2006/relationships/slide" Target="slides/slide331.xml"/><Relationship Id="rId377" Type="http://schemas.openxmlformats.org/officeDocument/2006/relationships/slide" Target="slides/slide373.xml"/><Relationship Id="rId500" Type="http://schemas.microsoft.com/office/2015/10/relationships/revisionInfo" Target="revisionInfo.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402" Type="http://schemas.openxmlformats.org/officeDocument/2006/relationships/slide" Target="slides/slide398.xml"/><Relationship Id="rId279" Type="http://schemas.openxmlformats.org/officeDocument/2006/relationships/slide" Target="slides/slide275.xml"/><Relationship Id="rId444" Type="http://schemas.openxmlformats.org/officeDocument/2006/relationships/slide" Target="slides/slide440.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346" Type="http://schemas.openxmlformats.org/officeDocument/2006/relationships/slide" Target="slides/slide342.xml"/><Relationship Id="rId388" Type="http://schemas.openxmlformats.org/officeDocument/2006/relationships/slide" Target="slides/slide384.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248" Type="http://schemas.openxmlformats.org/officeDocument/2006/relationships/slide" Target="slides/slide244.xml"/><Relationship Id="rId455" Type="http://schemas.openxmlformats.org/officeDocument/2006/relationships/slide" Target="slides/slide451.xml"/><Relationship Id="rId497" Type="http://schemas.openxmlformats.org/officeDocument/2006/relationships/viewProps" Target="viewProps.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357" Type="http://schemas.openxmlformats.org/officeDocument/2006/relationships/slide" Target="slides/slide353.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399" Type="http://schemas.openxmlformats.org/officeDocument/2006/relationships/slide" Target="slides/slide395.xml"/><Relationship Id="rId259" Type="http://schemas.openxmlformats.org/officeDocument/2006/relationships/slide" Target="slides/slide255.xml"/><Relationship Id="rId424" Type="http://schemas.openxmlformats.org/officeDocument/2006/relationships/slide" Target="slides/slide420.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172" Type="http://schemas.openxmlformats.org/officeDocument/2006/relationships/slide" Target="slides/slide168.xml"/><Relationship Id="rId228" Type="http://schemas.openxmlformats.org/officeDocument/2006/relationships/slide" Target="slides/slide224.xml"/><Relationship Id="rId435" Type="http://schemas.openxmlformats.org/officeDocument/2006/relationships/slide" Target="slides/slide431.xml"/><Relationship Id="rId477" Type="http://schemas.openxmlformats.org/officeDocument/2006/relationships/slide" Target="slides/slide473.xml"/><Relationship Id="rId281" Type="http://schemas.openxmlformats.org/officeDocument/2006/relationships/slide" Target="slides/slide277.xml"/><Relationship Id="rId337" Type="http://schemas.openxmlformats.org/officeDocument/2006/relationships/slide" Target="slides/slide333.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390" Type="http://schemas.openxmlformats.org/officeDocument/2006/relationships/slide" Target="slides/slide386.xml"/><Relationship Id="rId404" Type="http://schemas.openxmlformats.org/officeDocument/2006/relationships/slide" Target="slides/slide400.xml"/><Relationship Id="rId446" Type="http://schemas.openxmlformats.org/officeDocument/2006/relationships/slide" Target="slides/slide442.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88" Type="http://schemas.openxmlformats.org/officeDocument/2006/relationships/slide" Target="slides/slide484.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457" Type="http://schemas.openxmlformats.org/officeDocument/2006/relationships/slide" Target="slides/slide453.xml"/><Relationship Id="rId261" Type="http://schemas.openxmlformats.org/officeDocument/2006/relationships/slide" Target="slides/slide257.xml"/><Relationship Id="rId499" Type="http://schemas.openxmlformats.org/officeDocument/2006/relationships/tableStyles" Target="tableStyles.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426" Type="http://schemas.openxmlformats.org/officeDocument/2006/relationships/slide" Target="slides/slide422.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37" Type="http://schemas.openxmlformats.org/officeDocument/2006/relationships/slide" Target="slides/slide433.xml"/><Relationship Id="rId479" Type="http://schemas.openxmlformats.org/officeDocument/2006/relationships/slide" Target="slides/slide475.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490" Type="http://schemas.openxmlformats.org/officeDocument/2006/relationships/slide" Target="slides/slide486.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495"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334" Type="http://schemas.openxmlformats.org/officeDocument/2006/relationships/slide" Target="slides/slide330.xml"/><Relationship Id="rId355" Type="http://schemas.openxmlformats.org/officeDocument/2006/relationships/slide" Target="slides/slide351.xml"/><Relationship Id="rId376" Type="http://schemas.openxmlformats.org/officeDocument/2006/relationships/slide" Target="slides/slide372.xml"/><Relationship Id="rId397" Type="http://schemas.openxmlformats.org/officeDocument/2006/relationships/slide" Target="slides/slide393.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01" Type="http://schemas.openxmlformats.org/officeDocument/2006/relationships/slide" Target="slides/slide397.xml"/><Relationship Id="rId422" Type="http://schemas.openxmlformats.org/officeDocument/2006/relationships/slide" Target="slides/slide418.xml"/><Relationship Id="rId443" Type="http://schemas.openxmlformats.org/officeDocument/2006/relationships/slide" Target="slides/slide439.xml"/><Relationship Id="rId464" Type="http://schemas.openxmlformats.org/officeDocument/2006/relationships/slide" Target="slides/slide460.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presProps" Target="presProps.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theme" Target="theme/theme1.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220" Type="http://schemas.openxmlformats.org/officeDocument/2006/relationships/slide" Target="slides/slide216.xml"/><Relationship Id="rId458" Type="http://schemas.openxmlformats.org/officeDocument/2006/relationships/slide" Target="slides/slide454.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72" Type="http://schemas.openxmlformats.org/officeDocument/2006/relationships/slide" Target="slides/slide68.xml"/><Relationship Id="rId375" Type="http://schemas.openxmlformats.org/officeDocument/2006/relationships/slide" Target="slides/slide371.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3" Type="http://schemas.openxmlformats.org/officeDocument/2006/relationships/package" Target="../embeddings/Microsoft_Excel_Worksheet336.xlsx"/><Relationship Id="rId2" Type="http://schemas.microsoft.com/office/2011/relationships/chartColorStyle" Target="colors1.xml"/><Relationship Id="rId1" Type="http://schemas.microsoft.com/office/2011/relationships/chartStyle" Target="style1.xml"/></Relationships>
</file>

<file path=ppt/charts/_rels/chart338.xml.rels><?xml version="1.0" encoding="UTF-8" standalone="yes"?>
<Relationships xmlns="http://schemas.openxmlformats.org/package/2006/relationships"><Relationship Id="rId3" Type="http://schemas.openxmlformats.org/officeDocument/2006/relationships/package" Target="../embeddings/Microsoft_Excel_Worksheet337.xlsx"/><Relationship Id="rId2" Type="http://schemas.microsoft.com/office/2011/relationships/chartColorStyle" Target="colors2.xml"/><Relationship Id="rId1" Type="http://schemas.microsoft.com/office/2011/relationships/chartStyle" Target="style2.xml"/></Relationships>
</file>

<file path=ppt/charts/_rels/chart339.xml.rels><?xml version="1.0" encoding="UTF-8" standalone="yes"?>
<Relationships xmlns="http://schemas.openxmlformats.org/package/2006/relationships"><Relationship Id="rId3" Type="http://schemas.openxmlformats.org/officeDocument/2006/relationships/package" Target="../embeddings/Microsoft_Excel_Worksheet338.xlsx"/><Relationship Id="rId2" Type="http://schemas.microsoft.com/office/2011/relationships/chartColorStyle" Target="colors3.xml"/><Relationship Id="rId1" Type="http://schemas.microsoft.com/office/2011/relationships/chartStyle" Target="style3.xml"/></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3" Type="http://schemas.openxmlformats.org/officeDocument/2006/relationships/package" Target="../embeddings/Microsoft_Excel_Worksheet339.xlsx"/><Relationship Id="rId2" Type="http://schemas.microsoft.com/office/2011/relationships/chartColorStyle" Target="colors4.xml"/><Relationship Id="rId1" Type="http://schemas.microsoft.com/office/2011/relationships/chartStyle" Target="style4.xml"/></Relationships>
</file>

<file path=ppt/charts/_rels/chart341.xml.rels><?xml version="1.0" encoding="UTF-8" standalone="yes"?>
<Relationships xmlns="http://schemas.openxmlformats.org/package/2006/relationships"><Relationship Id="rId3" Type="http://schemas.openxmlformats.org/officeDocument/2006/relationships/package" Target="../embeddings/Microsoft_Excel_Worksheet340.xlsx"/><Relationship Id="rId2" Type="http://schemas.microsoft.com/office/2011/relationships/chartColorStyle" Target="colors5.xml"/><Relationship Id="rId1" Type="http://schemas.microsoft.com/office/2011/relationships/chartStyle" Target="style5.xml"/></Relationships>
</file>

<file path=ppt/charts/_rels/chart342.xml.rels><?xml version="1.0" encoding="UTF-8" standalone="yes"?>
<Relationships xmlns="http://schemas.openxmlformats.org/package/2006/relationships"><Relationship Id="rId3" Type="http://schemas.openxmlformats.org/officeDocument/2006/relationships/package" Target="../embeddings/Microsoft_Excel_Worksheet341.xlsx"/><Relationship Id="rId2" Type="http://schemas.microsoft.com/office/2011/relationships/chartColorStyle" Target="colors6.xml"/><Relationship Id="rId1" Type="http://schemas.microsoft.com/office/2011/relationships/chartStyle" Target="style6.xml"/></Relationships>
</file>

<file path=ppt/charts/_rels/chart343.xml.rels><?xml version="1.0" encoding="UTF-8" standalone="yes"?>
<Relationships xmlns="http://schemas.openxmlformats.org/package/2006/relationships"><Relationship Id="rId3" Type="http://schemas.openxmlformats.org/officeDocument/2006/relationships/package" Target="../embeddings/Microsoft_Excel_Worksheet342.xlsx"/><Relationship Id="rId2" Type="http://schemas.microsoft.com/office/2011/relationships/chartColorStyle" Target="colors7.xml"/><Relationship Id="rId1" Type="http://schemas.microsoft.com/office/2011/relationships/chartStyle" Target="style7.xml"/></Relationships>
</file>

<file path=ppt/charts/_rels/chart344.xml.rels><?xml version="1.0" encoding="UTF-8" standalone="yes"?>
<Relationships xmlns="http://schemas.openxmlformats.org/package/2006/relationships"><Relationship Id="rId3" Type="http://schemas.openxmlformats.org/officeDocument/2006/relationships/package" Target="../embeddings/Microsoft_Excel_Worksheet343.xlsx"/><Relationship Id="rId2" Type="http://schemas.microsoft.com/office/2011/relationships/chartColorStyle" Target="colors8.xml"/><Relationship Id="rId1" Type="http://schemas.microsoft.com/office/2011/relationships/chartStyle" Target="style8.xml"/></Relationships>
</file>

<file path=ppt/charts/_rels/chart345.xml.rels><?xml version="1.0" encoding="UTF-8" standalone="yes"?>
<Relationships xmlns="http://schemas.openxmlformats.org/package/2006/relationships"><Relationship Id="rId3" Type="http://schemas.openxmlformats.org/officeDocument/2006/relationships/package" Target="../embeddings/Microsoft_Excel_Worksheet344.xlsx"/><Relationship Id="rId2" Type="http://schemas.microsoft.com/office/2011/relationships/chartColorStyle" Target="colors9.xml"/><Relationship Id="rId1" Type="http://schemas.microsoft.com/office/2011/relationships/chartStyle" Target="style9.xml"/></Relationships>
</file>

<file path=ppt/charts/_rels/chart346.xml.rels><?xml version="1.0" encoding="UTF-8" standalone="yes"?>
<Relationships xmlns="http://schemas.openxmlformats.org/package/2006/relationships"><Relationship Id="rId3" Type="http://schemas.openxmlformats.org/officeDocument/2006/relationships/package" Target="../embeddings/Microsoft_Excel_Worksheet345.xlsx"/><Relationship Id="rId2" Type="http://schemas.microsoft.com/office/2011/relationships/chartColorStyle" Target="colors10.xml"/><Relationship Id="rId1" Type="http://schemas.microsoft.com/office/2011/relationships/chartStyle" Target="style10.xml"/></Relationships>
</file>

<file path=ppt/charts/_rels/chart347.xml.rels><?xml version="1.0" encoding="UTF-8" standalone="yes"?>
<Relationships xmlns="http://schemas.openxmlformats.org/package/2006/relationships"><Relationship Id="rId3" Type="http://schemas.openxmlformats.org/officeDocument/2006/relationships/package" Target="../embeddings/Microsoft_Excel_Worksheet346.xlsx"/><Relationship Id="rId2" Type="http://schemas.microsoft.com/office/2011/relationships/chartColorStyle" Target="colors11.xml"/><Relationship Id="rId1" Type="http://schemas.microsoft.com/office/2011/relationships/chartStyle" Target="style11.xml"/></Relationships>
</file>

<file path=ppt/charts/_rels/chart348.xml.rels><?xml version="1.0" encoding="UTF-8" standalone="yes"?>
<Relationships xmlns="http://schemas.openxmlformats.org/package/2006/relationships"><Relationship Id="rId3" Type="http://schemas.openxmlformats.org/officeDocument/2006/relationships/package" Target="../embeddings/Microsoft_Excel_Worksheet347.xlsx"/><Relationship Id="rId2" Type="http://schemas.microsoft.com/office/2011/relationships/chartColorStyle" Target="colors12.xml"/><Relationship Id="rId1" Type="http://schemas.microsoft.com/office/2011/relationships/chartStyle" Target="style12.xml"/></Relationships>
</file>

<file path=ppt/charts/_rels/chart349.xml.rels><?xml version="1.0" encoding="UTF-8" standalone="yes"?>
<Relationships xmlns="http://schemas.openxmlformats.org/package/2006/relationships"><Relationship Id="rId3" Type="http://schemas.openxmlformats.org/officeDocument/2006/relationships/package" Target="../embeddings/Microsoft_Excel_Worksheet348.xlsx"/><Relationship Id="rId2" Type="http://schemas.microsoft.com/office/2011/relationships/chartColorStyle" Target="colors13.xml"/><Relationship Id="rId1" Type="http://schemas.microsoft.com/office/2011/relationships/chartStyle" Target="style13.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3" Type="http://schemas.openxmlformats.org/officeDocument/2006/relationships/package" Target="../embeddings/Microsoft_Excel_Worksheet349.xlsx"/><Relationship Id="rId2" Type="http://schemas.microsoft.com/office/2011/relationships/chartColorStyle" Target="colors14.xml"/><Relationship Id="rId1" Type="http://schemas.microsoft.com/office/2011/relationships/chartStyle" Target="style14.xml"/></Relationships>
</file>

<file path=ppt/charts/_rels/chart351.xml.rels><?xml version="1.0" encoding="UTF-8" standalone="yes"?>
<Relationships xmlns="http://schemas.openxmlformats.org/package/2006/relationships"><Relationship Id="rId3" Type="http://schemas.openxmlformats.org/officeDocument/2006/relationships/package" Target="../embeddings/Microsoft_Excel_Worksheet350.xlsx"/><Relationship Id="rId2" Type="http://schemas.microsoft.com/office/2011/relationships/chartColorStyle" Target="colors15.xml"/><Relationship Id="rId1" Type="http://schemas.microsoft.com/office/2011/relationships/chartStyle" Target="style15.xml"/></Relationships>
</file>

<file path=ppt/charts/_rels/chart352.xml.rels><?xml version="1.0" encoding="UTF-8" standalone="yes"?>
<Relationships xmlns="http://schemas.openxmlformats.org/package/2006/relationships"><Relationship Id="rId3" Type="http://schemas.openxmlformats.org/officeDocument/2006/relationships/package" Target="../embeddings/Microsoft_Excel_Worksheet351.xlsx"/><Relationship Id="rId2" Type="http://schemas.microsoft.com/office/2011/relationships/chartColorStyle" Target="colors16.xml"/><Relationship Id="rId1" Type="http://schemas.microsoft.com/office/2011/relationships/chartStyle" Target="style16.xml"/></Relationships>
</file>

<file path=ppt/charts/_rels/chart353.xml.rels><?xml version="1.0" encoding="UTF-8" standalone="yes"?>
<Relationships xmlns="http://schemas.openxmlformats.org/package/2006/relationships"><Relationship Id="rId3" Type="http://schemas.openxmlformats.org/officeDocument/2006/relationships/package" Target="../embeddings/Microsoft_Excel_Worksheet352.xlsx"/><Relationship Id="rId2" Type="http://schemas.microsoft.com/office/2011/relationships/chartColorStyle" Target="colors17.xml"/><Relationship Id="rId1" Type="http://schemas.microsoft.com/office/2011/relationships/chartStyle" Target="style17.xml"/></Relationships>
</file>

<file path=ppt/charts/_rels/chart354.xml.rels><?xml version="1.0" encoding="UTF-8" standalone="yes"?>
<Relationships xmlns="http://schemas.openxmlformats.org/package/2006/relationships"><Relationship Id="rId3" Type="http://schemas.openxmlformats.org/officeDocument/2006/relationships/package" Target="../embeddings/Microsoft_Excel_Worksheet353.xlsx"/><Relationship Id="rId2" Type="http://schemas.microsoft.com/office/2011/relationships/chartColorStyle" Target="colors18.xml"/><Relationship Id="rId1" Type="http://schemas.microsoft.com/office/2011/relationships/chartStyle" Target="style18.xml"/></Relationships>
</file>

<file path=ppt/charts/_rels/chart355.xml.rels><?xml version="1.0" encoding="UTF-8" standalone="yes"?>
<Relationships xmlns="http://schemas.openxmlformats.org/package/2006/relationships"><Relationship Id="rId3" Type="http://schemas.openxmlformats.org/officeDocument/2006/relationships/package" Target="../embeddings/Microsoft_Excel_Worksheet354.xlsx"/><Relationship Id="rId2" Type="http://schemas.microsoft.com/office/2011/relationships/chartColorStyle" Target="colors19.xml"/><Relationship Id="rId1" Type="http://schemas.microsoft.com/office/2011/relationships/chartStyle" Target="style19.xml"/></Relationships>
</file>

<file path=ppt/charts/_rels/chart356.xml.rels><?xml version="1.0" encoding="UTF-8" standalone="yes"?>
<Relationships xmlns="http://schemas.openxmlformats.org/package/2006/relationships"><Relationship Id="rId3" Type="http://schemas.openxmlformats.org/officeDocument/2006/relationships/package" Target="../embeddings/Microsoft_Excel_Worksheet355.xlsx"/><Relationship Id="rId2" Type="http://schemas.microsoft.com/office/2011/relationships/chartColorStyle" Target="colors20.xml"/><Relationship Id="rId1" Type="http://schemas.microsoft.com/office/2011/relationships/chartStyle" Target="style20.xml"/></Relationships>
</file>

<file path=ppt/charts/_rels/chart357.xml.rels><?xml version="1.0" encoding="UTF-8" standalone="yes"?>
<Relationships xmlns="http://schemas.openxmlformats.org/package/2006/relationships"><Relationship Id="rId3" Type="http://schemas.openxmlformats.org/officeDocument/2006/relationships/package" Target="../embeddings/Microsoft_Excel_Worksheet356.xlsx"/><Relationship Id="rId2" Type="http://schemas.microsoft.com/office/2011/relationships/chartColorStyle" Target="colors21.xml"/><Relationship Id="rId1" Type="http://schemas.microsoft.com/office/2011/relationships/chartStyle" Target="style21.xml"/></Relationships>
</file>

<file path=ppt/charts/_rels/chart358.xml.rels><?xml version="1.0" encoding="UTF-8" standalone="yes"?>
<Relationships xmlns="http://schemas.openxmlformats.org/package/2006/relationships"><Relationship Id="rId3" Type="http://schemas.openxmlformats.org/officeDocument/2006/relationships/package" Target="../embeddings/Microsoft_Excel_Worksheet357.xlsx"/><Relationship Id="rId2" Type="http://schemas.microsoft.com/office/2011/relationships/chartColorStyle" Target="colors22.xml"/><Relationship Id="rId1" Type="http://schemas.microsoft.com/office/2011/relationships/chartStyle" Target="style22.xml"/></Relationships>
</file>

<file path=ppt/charts/_rels/chart359.xml.rels><?xml version="1.0" encoding="UTF-8" standalone="yes"?>
<Relationships xmlns="http://schemas.openxmlformats.org/package/2006/relationships"><Relationship Id="rId3" Type="http://schemas.openxmlformats.org/officeDocument/2006/relationships/package" Target="../embeddings/Microsoft_Excel_Worksheet358.xlsx"/><Relationship Id="rId2" Type="http://schemas.microsoft.com/office/2011/relationships/chartColorStyle" Target="colors23.xml"/><Relationship Id="rId1" Type="http://schemas.microsoft.com/office/2011/relationships/chartStyle" Target="style23.xml"/></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3" Type="http://schemas.openxmlformats.org/officeDocument/2006/relationships/package" Target="../embeddings/Microsoft_Excel_Worksheet359.xlsx"/><Relationship Id="rId2" Type="http://schemas.microsoft.com/office/2011/relationships/chartColorStyle" Target="colors24.xml"/><Relationship Id="rId1" Type="http://schemas.microsoft.com/office/2011/relationships/chartStyle" Target="style24.xml"/></Relationships>
</file>

<file path=ppt/charts/_rels/chart361.xml.rels><?xml version="1.0" encoding="UTF-8" standalone="yes"?>
<Relationships xmlns="http://schemas.openxmlformats.org/package/2006/relationships"><Relationship Id="rId3" Type="http://schemas.openxmlformats.org/officeDocument/2006/relationships/package" Target="../embeddings/Microsoft_Excel_Worksheet360.xlsx"/><Relationship Id="rId2" Type="http://schemas.microsoft.com/office/2011/relationships/chartColorStyle" Target="colors25.xml"/><Relationship Id="rId1" Type="http://schemas.microsoft.com/office/2011/relationships/chartStyle" Target="style25.xml"/></Relationships>
</file>

<file path=ppt/charts/_rels/chart362.xml.rels><?xml version="1.0" encoding="UTF-8" standalone="yes"?>
<Relationships xmlns="http://schemas.openxmlformats.org/package/2006/relationships"><Relationship Id="rId3" Type="http://schemas.openxmlformats.org/officeDocument/2006/relationships/package" Target="../embeddings/Microsoft_Excel_Worksheet361.xlsx"/><Relationship Id="rId2" Type="http://schemas.microsoft.com/office/2011/relationships/chartColorStyle" Target="colors26.xml"/><Relationship Id="rId1" Type="http://schemas.microsoft.com/office/2011/relationships/chartStyle" Target="style26.xml"/></Relationships>
</file>

<file path=ppt/charts/_rels/chart363.xml.rels><?xml version="1.0" encoding="UTF-8" standalone="yes"?>
<Relationships xmlns="http://schemas.openxmlformats.org/package/2006/relationships"><Relationship Id="rId3" Type="http://schemas.openxmlformats.org/officeDocument/2006/relationships/package" Target="../embeddings/Microsoft_Excel_Worksheet362.xlsx"/><Relationship Id="rId2" Type="http://schemas.microsoft.com/office/2011/relationships/chartColorStyle" Target="colors27.xml"/><Relationship Id="rId1" Type="http://schemas.microsoft.com/office/2011/relationships/chartStyle" Target="style27.xml"/></Relationships>
</file>

<file path=ppt/charts/_rels/chart364.xml.rels><?xml version="1.0" encoding="UTF-8" standalone="yes"?>
<Relationships xmlns="http://schemas.openxmlformats.org/package/2006/relationships"><Relationship Id="rId3" Type="http://schemas.openxmlformats.org/officeDocument/2006/relationships/package" Target="../embeddings/Microsoft_Excel_Worksheet363.xlsx"/><Relationship Id="rId2" Type="http://schemas.microsoft.com/office/2011/relationships/chartColorStyle" Target="colors28.xml"/><Relationship Id="rId1" Type="http://schemas.microsoft.com/office/2011/relationships/chartStyle" Target="style28.xml"/></Relationships>
</file>

<file path=ppt/charts/_rels/chart365.xml.rels><?xml version="1.0" encoding="UTF-8" standalone="yes"?>
<Relationships xmlns="http://schemas.openxmlformats.org/package/2006/relationships"><Relationship Id="rId3" Type="http://schemas.openxmlformats.org/officeDocument/2006/relationships/package" Target="../embeddings/Microsoft_Excel_Worksheet364.xlsx"/><Relationship Id="rId2" Type="http://schemas.microsoft.com/office/2011/relationships/chartColorStyle" Target="colors29.xml"/><Relationship Id="rId1" Type="http://schemas.microsoft.com/office/2011/relationships/chartStyle" Target="style29.xml"/></Relationships>
</file>

<file path=ppt/charts/_rels/chart366.xml.rels><?xml version="1.0" encoding="UTF-8" standalone="yes"?>
<Relationships xmlns="http://schemas.openxmlformats.org/package/2006/relationships"><Relationship Id="rId3" Type="http://schemas.openxmlformats.org/officeDocument/2006/relationships/package" Target="../embeddings/Microsoft_Excel_Worksheet365.xlsx"/><Relationship Id="rId2" Type="http://schemas.microsoft.com/office/2011/relationships/chartColorStyle" Target="colors30.xml"/><Relationship Id="rId1" Type="http://schemas.microsoft.com/office/2011/relationships/chartStyle" Target="style30.xml"/></Relationships>
</file>

<file path=ppt/charts/_rels/chart367.xml.rels><?xml version="1.0" encoding="UTF-8" standalone="yes"?>
<Relationships xmlns="http://schemas.openxmlformats.org/package/2006/relationships"><Relationship Id="rId3" Type="http://schemas.openxmlformats.org/officeDocument/2006/relationships/package" Target="../embeddings/Microsoft_Excel_Worksheet366.xlsx"/><Relationship Id="rId2" Type="http://schemas.microsoft.com/office/2011/relationships/chartColorStyle" Target="colors31.xml"/><Relationship Id="rId1" Type="http://schemas.microsoft.com/office/2011/relationships/chartStyle" Target="style31.xml"/></Relationships>
</file>

<file path=ppt/charts/_rels/chart368.xml.rels><?xml version="1.0" encoding="UTF-8" standalone="yes"?>
<Relationships xmlns="http://schemas.openxmlformats.org/package/2006/relationships"><Relationship Id="rId3" Type="http://schemas.openxmlformats.org/officeDocument/2006/relationships/package" Target="../embeddings/Microsoft_Excel_Worksheet367.xlsx"/><Relationship Id="rId2" Type="http://schemas.microsoft.com/office/2011/relationships/chartColorStyle" Target="colors32.xml"/><Relationship Id="rId1" Type="http://schemas.microsoft.com/office/2011/relationships/chartStyle" Target="style32.xml"/></Relationships>
</file>

<file path=ppt/charts/_rels/chart369.xml.rels><?xml version="1.0" encoding="UTF-8" standalone="yes"?>
<Relationships xmlns="http://schemas.openxmlformats.org/package/2006/relationships"><Relationship Id="rId3" Type="http://schemas.openxmlformats.org/officeDocument/2006/relationships/package" Target="../embeddings/Microsoft_Excel_Worksheet368.xlsx"/><Relationship Id="rId2" Type="http://schemas.microsoft.com/office/2011/relationships/chartColorStyle" Target="colors33.xml"/><Relationship Id="rId1" Type="http://schemas.microsoft.com/office/2011/relationships/chartStyle" Target="style33.xml"/></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3" Type="http://schemas.openxmlformats.org/officeDocument/2006/relationships/package" Target="../embeddings/Microsoft_Excel_Worksheet369.xlsx"/><Relationship Id="rId2" Type="http://schemas.microsoft.com/office/2011/relationships/chartColorStyle" Target="colors34.xml"/><Relationship Id="rId1" Type="http://schemas.microsoft.com/office/2011/relationships/chartStyle" Target="style34.xml"/></Relationships>
</file>

<file path=ppt/charts/_rels/chart371.xml.rels><?xml version="1.0" encoding="UTF-8" standalone="yes"?>
<Relationships xmlns="http://schemas.openxmlformats.org/package/2006/relationships"><Relationship Id="rId3" Type="http://schemas.openxmlformats.org/officeDocument/2006/relationships/package" Target="../embeddings/Microsoft_Excel_Worksheet370.xlsx"/><Relationship Id="rId2" Type="http://schemas.microsoft.com/office/2011/relationships/chartColorStyle" Target="colors35.xml"/><Relationship Id="rId1" Type="http://schemas.microsoft.com/office/2011/relationships/chartStyle" Target="style35.xml"/></Relationships>
</file>

<file path=ppt/charts/_rels/chart372.xml.rels><?xml version="1.0" encoding="UTF-8" standalone="yes"?>
<Relationships xmlns="http://schemas.openxmlformats.org/package/2006/relationships"><Relationship Id="rId3" Type="http://schemas.openxmlformats.org/officeDocument/2006/relationships/package" Target="../embeddings/Microsoft_Excel_Worksheet371.xlsx"/><Relationship Id="rId2" Type="http://schemas.microsoft.com/office/2011/relationships/chartColorStyle" Target="colors36.xml"/><Relationship Id="rId1" Type="http://schemas.microsoft.com/office/2011/relationships/chartStyle" Target="style36.xml"/></Relationships>
</file>

<file path=ppt/charts/_rels/chart373.xml.rels><?xml version="1.0" encoding="UTF-8" standalone="yes"?>
<Relationships xmlns="http://schemas.openxmlformats.org/package/2006/relationships"><Relationship Id="rId3" Type="http://schemas.openxmlformats.org/officeDocument/2006/relationships/package" Target="../embeddings/Microsoft_Excel_Worksheet372.xlsx"/><Relationship Id="rId2" Type="http://schemas.microsoft.com/office/2011/relationships/chartColorStyle" Target="colors37.xml"/><Relationship Id="rId1" Type="http://schemas.microsoft.com/office/2011/relationships/chartStyle" Target="style37.xml"/></Relationships>
</file>

<file path=ppt/charts/_rels/chart374.xml.rels><?xml version="1.0" encoding="UTF-8" standalone="yes"?>
<Relationships xmlns="http://schemas.openxmlformats.org/package/2006/relationships"><Relationship Id="rId3" Type="http://schemas.openxmlformats.org/officeDocument/2006/relationships/package" Target="../embeddings/Microsoft_Excel_Worksheet373.xlsx"/><Relationship Id="rId2" Type="http://schemas.microsoft.com/office/2011/relationships/chartColorStyle" Target="colors38.xml"/><Relationship Id="rId1" Type="http://schemas.microsoft.com/office/2011/relationships/chartStyle" Target="style38.xml"/></Relationships>
</file>

<file path=ppt/charts/_rels/chart375.xml.rels><?xml version="1.0" encoding="UTF-8" standalone="yes"?>
<Relationships xmlns="http://schemas.openxmlformats.org/package/2006/relationships"><Relationship Id="rId3" Type="http://schemas.openxmlformats.org/officeDocument/2006/relationships/package" Target="../embeddings/Microsoft_Excel_Worksheet374.xlsx"/><Relationship Id="rId2" Type="http://schemas.microsoft.com/office/2011/relationships/chartColorStyle" Target="colors39.xml"/><Relationship Id="rId1" Type="http://schemas.microsoft.com/office/2011/relationships/chartStyle" Target="style39.xml"/></Relationships>
</file>

<file path=ppt/charts/_rels/chart376.xml.rels><?xml version="1.0" encoding="UTF-8" standalone="yes"?>
<Relationships xmlns="http://schemas.openxmlformats.org/package/2006/relationships"><Relationship Id="rId3" Type="http://schemas.openxmlformats.org/officeDocument/2006/relationships/package" Target="../embeddings/Microsoft_Excel_Worksheet375.xlsx"/><Relationship Id="rId2" Type="http://schemas.microsoft.com/office/2011/relationships/chartColorStyle" Target="colors40.xml"/><Relationship Id="rId1" Type="http://schemas.microsoft.com/office/2011/relationships/chartStyle" Target="style40.xml"/></Relationships>
</file>

<file path=ppt/charts/_rels/chart377.xml.rels><?xml version="1.0" encoding="UTF-8" standalone="yes"?>
<Relationships xmlns="http://schemas.openxmlformats.org/package/2006/relationships"><Relationship Id="rId3" Type="http://schemas.openxmlformats.org/officeDocument/2006/relationships/package" Target="../embeddings/Microsoft_Excel_Worksheet376.xlsx"/><Relationship Id="rId2" Type="http://schemas.microsoft.com/office/2011/relationships/chartColorStyle" Target="colors41.xml"/><Relationship Id="rId1" Type="http://schemas.microsoft.com/office/2011/relationships/chartStyle" Target="style41.xml"/></Relationships>
</file>

<file path=ppt/charts/_rels/chart378.xml.rels><?xml version="1.0" encoding="UTF-8" standalone="yes"?>
<Relationships xmlns="http://schemas.openxmlformats.org/package/2006/relationships"><Relationship Id="rId3" Type="http://schemas.openxmlformats.org/officeDocument/2006/relationships/package" Target="../embeddings/Microsoft_Excel_Worksheet377.xlsx"/><Relationship Id="rId2" Type="http://schemas.microsoft.com/office/2011/relationships/chartColorStyle" Target="colors42.xml"/><Relationship Id="rId1" Type="http://schemas.microsoft.com/office/2011/relationships/chartStyle" Target="style42.xml"/></Relationships>
</file>

<file path=ppt/charts/_rels/chart379.xml.rels><?xml version="1.0" encoding="UTF-8" standalone="yes"?>
<Relationships xmlns="http://schemas.openxmlformats.org/package/2006/relationships"><Relationship Id="rId3" Type="http://schemas.openxmlformats.org/officeDocument/2006/relationships/package" Target="../embeddings/Microsoft_Excel_Worksheet378.xlsx"/><Relationship Id="rId2" Type="http://schemas.microsoft.com/office/2011/relationships/chartColorStyle" Target="colors43.xml"/><Relationship Id="rId1" Type="http://schemas.microsoft.com/office/2011/relationships/chartStyle" Target="style43.xml"/></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3" Type="http://schemas.openxmlformats.org/officeDocument/2006/relationships/package" Target="../embeddings/Microsoft_Excel_Worksheet379.xlsx"/><Relationship Id="rId2" Type="http://schemas.microsoft.com/office/2011/relationships/chartColorStyle" Target="colors44.xml"/><Relationship Id="rId1" Type="http://schemas.microsoft.com/office/2011/relationships/chartStyle" Target="style44.xml"/></Relationships>
</file>

<file path=ppt/charts/_rels/chart381.xml.rels><?xml version="1.0" encoding="UTF-8" standalone="yes"?>
<Relationships xmlns="http://schemas.openxmlformats.org/package/2006/relationships"><Relationship Id="rId3" Type="http://schemas.openxmlformats.org/officeDocument/2006/relationships/package" Target="../embeddings/Microsoft_Excel_Worksheet380.xlsx"/><Relationship Id="rId2" Type="http://schemas.microsoft.com/office/2011/relationships/chartColorStyle" Target="colors45.xml"/><Relationship Id="rId1" Type="http://schemas.microsoft.com/office/2011/relationships/chartStyle" Target="style45.xml"/></Relationships>
</file>

<file path=ppt/charts/_rels/chart382.xml.rels><?xml version="1.0" encoding="UTF-8" standalone="yes"?>
<Relationships xmlns="http://schemas.openxmlformats.org/package/2006/relationships"><Relationship Id="rId3" Type="http://schemas.openxmlformats.org/officeDocument/2006/relationships/package" Target="../embeddings/Microsoft_Excel_Worksheet381.xlsx"/><Relationship Id="rId2" Type="http://schemas.microsoft.com/office/2011/relationships/chartColorStyle" Target="colors46.xml"/><Relationship Id="rId1" Type="http://schemas.microsoft.com/office/2011/relationships/chartStyle" Target="style46.xml"/></Relationships>
</file>

<file path=ppt/charts/_rels/chart383.xml.rels><?xml version="1.0" encoding="UTF-8" standalone="yes"?>
<Relationships xmlns="http://schemas.openxmlformats.org/package/2006/relationships"><Relationship Id="rId3" Type="http://schemas.openxmlformats.org/officeDocument/2006/relationships/package" Target="../embeddings/Microsoft_Excel_Worksheet382.xlsx"/><Relationship Id="rId2" Type="http://schemas.microsoft.com/office/2011/relationships/chartColorStyle" Target="colors47.xml"/><Relationship Id="rId1" Type="http://schemas.microsoft.com/office/2011/relationships/chartStyle" Target="style47.xml"/></Relationships>
</file>

<file path=ppt/charts/_rels/chart384.xml.rels><?xml version="1.0" encoding="UTF-8" standalone="yes"?>
<Relationships xmlns="http://schemas.openxmlformats.org/package/2006/relationships"><Relationship Id="rId3" Type="http://schemas.openxmlformats.org/officeDocument/2006/relationships/package" Target="../embeddings/Microsoft_Excel_Worksheet383.xlsx"/><Relationship Id="rId2" Type="http://schemas.microsoft.com/office/2011/relationships/chartColorStyle" Target="colors48.xml"/><Relationship Id="rId1" Type="http://schemas.microsoft.com/office/2011/relationships/chartStyle" Target="style48.xml"/></Relationships>
</file>

<file path=ppt/charts/_rels/chart385.xml.rels><?xml version="1.0" encoding="UTF-8" standalone="yes"?>
<Relationships xmlns="http://schemas.openxmlformats.org/package/2006/relationships"><Relationship Id="rId3" Type="http://schemas.openxmlformats.org/officeDocument/2006/relationships/package" Target="../embeddings/Microsoft_Excel_Worksheet384.xlsx"/><Relationship Id="rId2" Type="http://schemas.microsoft.com/office/2011/relationships/chartColorStyle" Target="colors49.xml"/><Relationship Id="rId1" Type="http://schemas.microsoft.com/office/2011/relationships/chartStyle" Target="style49.xml"/></Relationships>
</file>

<file path=ppt/charts/_rels/chart386.xml.rels><?xml version="1.0" encoding="UTF-8" standalone="yes"?>
<Relationships xmlns="http://schemas.openxmlformats.org/package/2006/relationships"><Relationship Id="rId3" Type="http://schemas.openxmlformats.org/officeDocument/2006/relationships/package" Target="../embeddings/Microsoft_Excel_Worksheet385.xlsx"/><Relationship Id="rId2" Type="http://schemas.microsoft.com/office/2011/relationships/chartColorStyle" Target="colors50.xml"/><Relationship Id="rId1" Type="http://schemas.microsoft.com/office/2011/relationships/chartStyle" Target="style50.xml"/></Relationships>
</file>

<file path=ppt/charts/_rels/chart387.xml.rels><?xml version="1.0" encoding="UTF-8" standalone="yes"?>
<Relationships xmlns="http://schemas.openxmlformats.org/package/2006/relationships"><Relationship Id="rId3" Type="http://schemas.openxmlformats.org/officeDocument/2006/relationships/package" Target="../embeddings/Microsoft_Excel_Worksheet386.xlsx"/><Relationship Id="rId2" Type="http://schemas.microsoft.com/office/2011/relationships/chartColorStyle" Target="colors51.xml"/><Relationship Id="rId1" Type="http://schemas.microsoft.com/office/2011/relationships/chartStyle" Target="style51.xml"/></Relationships>
</file>

<file path=ppt/charts/_rels/chart388.xml.rels><?xml version="1.0" encoding="UTF-8" standalone="yes"?>
<Relationships xmlns="http://schemas.openxmlformats.org/package/2006/relationships"><Relationship Id="rId3" Type="http://schemas.openxmlformats.org/officeDocument/2006/relationships/package" Target="../embeddings/Microsoft_Excel_Worksheet387.xlsx"/><Relationship Id="rId2" Type="http://schemas.microsoft.com/office/2011/relationships/chartColorStyle" Target="colors52.xml"/><Relationship Id="rId1" Type="http://schemas.microsoft.com/office/2011/relationships/chartStyle" Target="style52.xml"/></Relationships>
</file>

<file path=ppt/charts/_rels/chart389.xml.rels><?xml version="1.0" encoding="UTF-8" standalone="yes"?>
<Relationships xmlns="http://schemas.openxmlformats.org/package/2006/relationships"><Relationship Id="rId3" Type="http://schemas.openxmlformats.org/officeDocument/2006/relationships/package" Target="../embeddings/Microsoft_Excel_Worksheet388.xlsx"/><Relationship Id="rId2" Type="http://schemas.microsoft.com/office/2011/relationships/chartColorStyle" Target="colors53.xml"/><Relationship Id="rId1" Type="http://schemas.microsoft.com/office/2011/relationships/chartStyle" Target="style53.xml"/></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3" Type="http://schemas.openxmlformats.org/officeDocument/2006/relationships/package" Target="../embeddings/Microsoft_Excel_Worksheet389.xlsx"/><Relationship Id="rId2" Type="http://schemas.microsoft.com/office/2011/relationships/chartColorStyle" Target="colors54.xml"/><Relationship Id="rId1" Type="http://schemas.microsoft.com/office/2011/relationships/chartStyle" Target="style54.xml"/></Relationships>
</file>

<file path=ppt/charts/_rels/chart391.xml.rels><?xml version="1.0" encoding="UTF-8" standalone="yes"?>
<Relationships xmlns="http://schemas.openxmlformats.org/package/2006/relationships"><Relationship Id="rId3" Type="http://schemas.openxmlformats.org/officeDocument/2006/relationships/package" Target="../embeddings/Microsoft_Excel_Worksheet390.xlsx"/><Relationship Id="rId2" Type="http://schemas.microsoft.com/office/2011/relationships/chartColorStyle" Target="colors55.xml"/><Relationship Id="rId1" Type="http://schemas.microsoft.com/office/2011/relationships/chartStyle" Target="style55.xml"/></Relationships>
</file>

<file path=ppt/charts/_rels/chart392.xml.rels><?xml version="1.0" encoding="UTF-8" standalone="yes"?>
<Relationships xmlns="http://schemas.openxmlformats.org/package/2006/relationships"><Relationship Id="rId3" Type="http://schemas.openxmlformats.org/officeDocument/2006/relationships/package" Target="../embeddings/Microsoft_Excel_Worksheet391.xlsx"/><Relationship Id="rId2" Type="http://schemas.microsoft.com/office/2011/relationships/chartColorStyle" Target="colors56.xml"/><Relationship Id="rId1" Type="http://schemas.microsoft.com/office/2011/relationships/chartStyle" Target="style56.xml"/></Relationships>
</file>

<file path=ppt/charts/_rels/chart393.xml.rels><?xml version="1.0" encoding="UTF-8" standalone="yes"?>
<Relationships xmlns="http://schemas.openxmlformats.org/package/2006/relationships"><Relationship Id="rId3" Type="http://schemas.openxmlformats.org/officeDocument/2006/relationships/package" Target="../embeddings/Microsoft_Excel_Worksheet392.xlsx"/><Relationship Id="rId2" Type="http://schemas.microsoft.com/office/2011/relationships/chartColorStyle" Target="colors57.xml"/><Relationship Id="rId1" Type="http://schemas.microsoft.com/office/2011/relationships/chartStyle" Target="style57.xml"/></Relationships>
</file>

<file path=ppt/charts/_rels/chart394.xml.rels><?xml version="1.0" encoding="UTF-8" standalone="yes"?>
<Relationships xmlns="http://schemas.openxmlformats.org/package/2006/relationships"><Relationship Id="rId3" Type="http://schemas.openxmlformats.org/officeDocument/2006/relationships/package" Target="../embeddings/Microsoft_Excel_Worksheet393.xlsx"/><Relationship Id="rId2" Type="http://schemas.microsoft.com/office/2011/relationships/chartColorStyle" Target="colors58.xml"/><Relationship Id="rId1" Type="http://schemas.microsoft.com/office/2011/relationships/chartStyle" Target="style58.xml"/></Relationships>
</file>

<file path=ppt/charts/_rels/chart395.xml.rels><?xml version="1.0" encoding="UTF-8" standalone="yes"?>
<Relationships xmlns="http://schemas.openxmlformats.org/package/2006/relationships"><Relationship Id="rId3" Type="http://schemas.openxmlformats.org/officeDocument/2006/relationships/package" Target="../embeddings/Microsoft_Excel_Worksheet394.xlsx"/><Relationship Id="rId2" Type="http://schemas.microsoft.com/office/2011/relationships/chartColorStyle" Target="colors59.xml"/><Relationship Id="rId1" Type="http://schemas.microsoft.com/office/2011/relationships/chartStyle" Target="style59.xml"/></Relationships>
</file>

<file path=ppt/charts/_rels/chart396.xml.rels><?xml version="1.0" encoding="UTF-8" standalone="yes"?>
<Relationships xmlns="http://schemas.openxmlformats.org/package/2006/relationships"><Relationship Id="rId3" Type="http://schemas.openxmlformats.org/officeDocument/2006/relationships/package" Target="../embeddings/Microsoft_Excel_Worksheet395.xlsx"/><Relationship Id="rId2" Type="http://schemas.microsoft.com/office/2011/relationships/chartColorStyle" Target="colors60.xml"/><Relationship Id="rId1" Type="http://schemas.microsoft.com/office/2011/relationships/chartStyle" Target="style60.xml"/></Relationships>
</file>

<file path=ppt/charts/_rels/chart397.xml.rels><?xml version="1.0" encoding="UTF-8" standalone="yes"?>
<Relationships xmlns="http://schemas.openxmlformats.org/package/2006/relationships"><Relationship Id="rId3" Type="http://schemas.openxmlformats.org/officeDocument/2006/relationships/package" Target="../embeddings/Microsoft_Excel_Worksheet396.xlsx"/><Relationship Id="rId2" Type="http://schemas.microsoft.com/office/2011/relationships/chartColorStyle" Target="colors61.xml"/><Relationship Id="rId1" Type="http://schemas.microsoft.com/office/2011/relationships/chartStyle" Target="style61.xml"/></Relationships>
</file>

<file path=ppt/charts/_rels/chart398.xml.rels><?xml version="1.0" encoding="UTF-8" standalone="yes"?>
<Relationships xmlns="http://schemas.openxmlformats.org/package/2006/relationships"><Relationship Id="rId3" Type="http://schemas.openxmlformats.org/officeDocument/2006/relationships/package" Target="../embeddings/Microsoft_Excel_Worksheet397.xlsx"/><Relationship Id="rId2" Type="http://schemas.microsoft.com/office/2011/relationships/chartColorStyle" Target="colors62.xml"/><Relationship Id="rId1" Type="http://schemas.microsoft.com/office/2011/relationships/chartStyle" Target="style62.xml"/></Relationships>
</file>

<file path=ppt/charts/_rels/chart399.xml.rels><?xml version="1.0" encoding="UTF-8" standalone="yes"?>
<Relationships xmlns="http://schemas.openxmlformats.org/package/2006/relationships"><Relationship Id="rId3" Type="http://schemas.openxmlformats.org/officeDocument/2006/relationships/package" Target="../embeddings/Microsoft_Excel_Worksheet398.xlsx"/><Relationship Id="rId2" Type="http://schemas.microsoft.com/office/2011/relationships/chartColorStyle" Target="colors63.xml"/><Relationship Id="rId1" Type="http://schemas.microsoft.com/office/2011/relationships/chartStyle" Target="style6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3" Type="http://schemas.openxmlformats.org/officeDocument/2006/relationships/package" Target="../embeddings/Microsoft_Excel_Worksheet399.xlsx"/><Relationship Id="rId2" Type="http://schemas.microsoft.com/office/2011/relationships/chartColorStyle" Target="colors64.xml"/><Relationship Id="rId1" Type="http://schemas.microsoft.com/office/2011/relationships/chartStyle" Target="style64.xml"/></Relationships>
</file>

<file path=ppt/charts/_rels/chart401.xml.rels><?xml version="1.0" encoding="UTF-8" standalone="yes"?>
<Relationships xmlns="http://schemas.openxmlformats.org/package/2006/relationships"><Relationship Id="rId3" Type="http://schemas.openxmlformats.org/officeDocument/2006/relationships/package" Target="../embeddings/Microsoft_Excel_Worksheet400.xlsx"/><Relationship Id="rId2" Type="http://schemas.microsoft.com/office/2011/relationships/chartColorStyle" Target="colors65.xml"/><Relationship Id="rId1" Type="http://schemas.microsoft.com/office/2011/relationships/chartStyle" Target="style65.xml"/></Relationships>
</file>

<file path=ppt/charts/_rels/chart402.xml.rels><?xml version="1.0" encoding="UTF-8" standalone="yes"?>
<Relationships xmlns="http://schemas.openxmlformats.org/package/2006/relationships"><Relationship Id="rId3" Type="http://schemas.openxmlformats.org/officeDocument/2006/relationships/package" Target="../embeddings/Microsoft_Excel_Worksheet401.xlsx"/><Relationship Id="rId2" Type="http://schemas.microsoft.com/office/2011/relationships/chartColorStyle" Target="colors66.xml"/><Relationship Id="rId1" Type="http://schemas.microsoft.com/office/2011/relationships/chartStyle" Target="style66.xml"/></Relationships>
</file>

<file path=ppt/charts/_rels/chart403.xml.rels><?xml version="1.0" encoding="UTF-8" standalone="yes"?>
<Relationships xmlns="http://schemas.openxmlformats.org/package/2006/relationships"><Relationship Id="rId3" Type="http://schemas.openxmlformats.org/officeDocument/2006/relationships/package" Target="../embeddings/Microsoft_Excel_Worksheet402.xlsx"/><Relationship Id="rId2" Type="http://schemas.microsoft.com/office/2011/relationships/chartColorStyle" Target="colors67.xml"/><Relationship Id="rId1" Type="http://schemas.microsoft.com/office/2011/relationships/chartStyle" Target="style67.xml"/></Relationships>
</file>

<file path=ppt/charts/_rels/chart404.xml.rels><?xml version="1.0" encoding="UTF-8" standalone="yes"?>
<Relationships xmlns="http://schemas.openxmlformats.org/package/2006/relationships"><Relationship Id="rId3" Type="http://schemas.openxmlformats.org/officeDocument/2006/relationships/package" Target="../embeddings/Microsoft_Excel_Worksheet403.xlsx"/><Relationship Id="rId2" Type="http://schemas.microsoft.com/office/2011/relationships/chartColorStyle" Target="colors68.xml"/><Relationship Id="rId1" Type="http://schemas.microsoft.com/office/2011/relationships/chartStyle" Target="style68.xml"/></Relationships>
</file>

<file path=ppt/charts/_rels/chart405.xml.rels><?xml version="1.0" encoding="UTF-8" standalone="yes"?>
<Relationships xmlns="http://schemas.openxmlformats.org/package/2006/relationships"><Relationship Id="rId3" Type="http://schemas.openxmlformats.org/officeDocument/2006/relationships/package" Target="../embeddings/Microsoft_Excel_Worksheet404.xlsx"/><Relationship Id="rId2" Type="http://schemas.microsoft.com/office/2011/relationships/chartColorStyle" Target="colors69.xml"/><Relationship Id="rId1" Type="http://schemas.microsoft.com/office/2011/relationships/chartStyle" Target="style69.xml"/></Relationships>
</file>

<file path=ppt/charts/_rels/chart406.xml.rels><?xml version="1.0" encoding="UTF-8" standalone="yes"?>
<Relationships xmlns="http://schemas.openxmlformats.org/package/2006/relationships"><Relationship Id="rId3" Type="http://schemas.openxmlformats.org/officeDocument/2006/relationships/package" Target="../embeddings/Microsoft_Excel_Worksheet405.xlsx"/><Relationship Id="rId2" Type="http://schemas.microsoft.com/office/2011/relationships/chartColorStyle" Target="colors70.xml"/><Relationship Id="rId1" Type="http://schemas.microsoft.com/office/2011/relationships/chartStyle" Target="style70.xml"/></Relationships>
</file>

<file path=ppt/charts/_rels/chart407.xml.rels><?xml version="1.0" encoding="UTF-8" standalone="yes"?>
<Relationships xmlns="http://schemas.openxmlformats.org/package/2006/relationships"><Relationship Id="rId3" Type="http://schemas.openxmlformats.org/officeDocument/2006/relationships/package" Target="../embeddings/Microsoft_Excel_Worksheet406.xlsx"/><Relationship Id="rId2" Type="http://schemas.microsoft.com/office/2011/relationships/chartColorStyle" Target="colors71.xml"/><Relationship Id="rId1" Type="http://schemas.microsoft.com/office/2011/relationships/chartStyle" Target="style71.xml"/></Relationships>
</file>

<file path=ppt/charts/_rels/chart408.xml.rels><?xml version="1.0" encoding="UTF-8" standalone="yes"?>
<Relationships xmlns="http://schemas.openxmlformats.org/package/2006/relationships"><Relationship Id="rId3" Type="http://schemas.openxmlformats.org/officeDocument/2006/relationships/package" Target="../embeddings/Microsoft_Excel_Worksheet407.xlsx"/><Relationship Id="rId2" Type="http://schemas.microsoft.com/office/2011/relationships/chartColorStyle" Target="colors72.xml"/><Relationship Id="rId1" Type="http://schemas.microsoft.com/office/2011/relationships/chartStyle" Target="style72.xml"/></Relationships>
</file>

<file path=ppt/charts/_rels/chart409.xml.rels><?xml version="1.0" encoding="UTF-8" standalone="yes"?>
<Relationships xmlns="http://schemas.openxmlformats.org/package/2006/relationships"><Relationship Id="rId3" Type="http://schemas.openxmlformats.org/officeDocument/2006/relationships/package" Target="../embeddings/Microsoft_Excel_Worksheet408.xlsx"/><Relationship Id="rId2" Type="http://schemas.microsoft.com/office/2011/relationships/chartColorStyle" Target="colors73.xml"/><Relationship Id="rId1" Type="http://schemas.microsoft.com/office/2011/relationships/chartStyle" Target="style73.xml"/></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3" Type="http://schemas.openxmlformats.org/officeDocument/2006/relationships/package" Target="../embeddings/Microsoft_Excel_Worksheet409.xlsx"/><Relationship Id="rId2" Type="http://schemas.microsoft.com/office/2011/relationships/chartColorStyle" Target="colors74.xml"/><Relationship Id="rId1" Type="http://schemas.microsoft.com/office/2011/relationships/chartStyle" Target="style74.xml"/></Relationships>
</file>

<file path=ppt/charts/_rels/chart411.xml.rels><?xml version="1.0" encoding="UTF-8" standalone="yes"?>
<Relationships xmlns="http://schemas.openxmlformats.org/package/2006/relationships"><Relationship Id="rId3" Type="http://schemas.openxmlformats.org/officeDocument/2006/relationships/package" Target="../embeddings/Microsoft_Excel_Worksheet410.xlsx"/><Relationship Id="rId2" Type="http://schemas.microsoft.com/office/2011/relationships/chartColorStyle" Target="colors75.xml"/><Relationship Id="rId1" Type="http://schemas.microsoft.com/office/2011/relationships/chartStyle" Target="style75.xml"/></Relationships>
</file>

<file path=ppt/charts/_rels/chart412.xml.rels><?xml version="1.0" encoding="UTF-8" standalone="yes"?>
<Relationships xmlns="http://schemas.openxmlformats.org/package/2006/relationships"><Relationship Id="rId3" Type="http://schemas.openxmlformats.org/officeDocument/2006/relationships/package" Target="../embeddings/Microsoft_Excel_Worksheet411.xlsx"/><Relationship Id="rId2" Type="http://schemas.microsoft.com/office/2011/relationships/chartColorStyle" Target="colors76.xml"/><Relationship Id="rId1" Type="http://schemas.microsoft.com/office/2011/relationships/chartStyle" Target="style76.xml"/></Relationships>
</file>

<file path=ppt/charts/_rels/chart413.xml.rels><?xml version="1.0" encoding="UTF-8" standalone="yes"?>
<Relationships xmlns="http://schemas.openxmlformats.org/package/2006/relationships"><Relationship Id="rId3" Type="http://schemas.openxmlformats.org/officeDocument/2006/relationships/package" Target="../embeddings/Microsoft_Excel_Worksheet412.xlsx"/><Relationship Id="rId2" Type="http://schemas.microsoft.com/office/2011/relationships/chartColorStyle" Target="colors77.xml"/><Relationship Id="rId1" Type="http://schemas.microsoft.com/office/2011/relationships/chartStyle" Target="style77.xml"/></Relationships>
</file>

<file path=ppt/charts/_rels/chart414.xml.rels><?xml version="1.0" encoding="UTF-8" standalone="yes"?>
<Relationships xmlns="http://schemas.openxmlformats.org/package/2006/relationships"><Relationship Id="rId3" Type="http://schemas.openxmlformats.org/officeDocument/2006/relationships/package" Target="../embeddings/Microsoft_Excel_Worksheet413.xlsx"/><Relationship Id="rId2" Type="http://schemas.microsoft.com/office/2011/relationships/chartColorStyle" Target="colors78.xml"/><Relationship Id="rId1" Type="http://schemas.microsoft.com/office/2011/relationships/chartStyle" Target="style78.xml"/></Relationships>
</file>

<file path=ppt/charts/_rels/chart415.xml.rels><?xml version="1.0" encoding="UTF-8" standalone="yes"?>
<Relationships xmlns="http://schemas.openxmlformats.org/package/2006/relationships"><Relationship Id="rId3" Type="http://schemas.openxmlformats.org/officeDocument/2006/relationships/package" Target="../embeddings/Microsoft_Excel_Worksheet414.xlsx"/><Relationship Id="rId2" Type="http://schemas.microsoft.com/office/2011/relationships/chartColorStyle" Target="colors79.xml"/><Relationship Id="rId1" Type="http://schemas.microsoft.com/office/2011/relationships/chartStyle" Target="style79.xml"/></Relationships>
</file>

<file path=ppt/charts/_rels/chart416.xml.rels><?xml version="1.0" encoding="UTF-8" standalone="yes"?>
<Relationships xmlns="http://schemas.openxmlformats.org/package/2006/relationships"><Relationship Id="rId3" Type="http://schemas.openxmlformats.org/officeDocument/2006/relationships/package" Target="../embeddings/Microsoft_Excel_Worksheet415.xlsx"/><Relationship Id="rId2" Type="http://schemas.microsoft.com/office/2011/relationships/chartColorStyle" Target="colors80.xml"/><Relationship Id="rId1" Type="http://schemas.microsoft.com/office/2011/relationships/chartStyle" Target="style80.xml"/></Relationships>
</file>

<file path=ppt/charts/_rels/chart417.xml.rels><?xml version="1.0" encoding="UTF-8" standalone="yes"?>
<Relationships xmlns="http://schemas.openxmlformats.org/package/2006/relationships"><Relationship Id="rId3" Type="http://schemas.openxmlformats.org/officeDocument/2006/relationships/package" Target="../embeddings/Microsoft_Excel_Worksheet416.xlsx"/><Relationship Id="rId2" Type="http://schemas.microsoft.com/office/2011/relationships/chartColorStyle" Target="colors81.xml"/><Relationship Id="rId1" Type="http://schemas.microsoft.com/office/2011/relationships/chartStyle" Target="style81.xml"/></Relationships>
</file>

<file path=ppt/charts/_rels/chart418.xml.rels><?xml version="1.0" encoding="UTF-8" standalone="yes"?>
<Relationships xmlns="http://schemas.openxmlformats.org/package/2006/relationships"><Relationship Id="rId3" Type="http://schemas.openxmlformats.org/officeDocument/2006/relationships/package" Target="../embeddings/Microsoft_Excel_Worksheet417.xlsx"/><Relationship Id="rId2" Type="http://schemas.microsoft.com/office/2011/relationships/chartColorStyle" Target="colors82.xml"/><Relationship Id="rId1" Type="http://schemas.microsoft.com/office/2011/relationships/chartStyle" Target="style82.xml"/></Relationships>
</file>

<file path=ppt/charts/_rels/chart419.xml.rels><?xml version="1.0" encoding="UTF-8" standalone="yes"?>
<Relationships xmlns="http://schemas.openxmlformats.org/package/2006/relationships"><Relationship Id="rId3" Type="http://schemas.openxmlformats.org/officeDocument/2006/relationships/package" Target="../embeddings/Microsoft_Excel_Worksheet418.xlsx"/><Relationship Id="rId2" Type="http://schemas.microsoft.com/office/2011/relationships/chartColorStyle" Target="colors83.xml"/><Relationship Id="rId1" Type="http://schemas.microsoft.com/office/2011/relationships/chartStyle" Target="style83.xml"/></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3" Type="http://schemas.openxmlformats.org/officeDocument/2006/relationships/package" Target="../embeddings/Microsoft_Excel_Worksheet419.xlsx"/><Relationship Id="rId2" Type="http://schemas.microsoft.com/office/2011/relationships/chartColorStyle" Target="colors84.xml"/><Relationship Id="rId1" Type="http://schemas.microsoft.com/office/2011/relationships/chartStyle" Target="style84.xml"/></Relationships>
</file>

<file path=ppt/charts/_rels/chart421.xml.rels><?xml version="1.0" encoding="UTF-8" standalone="yes"?>
<Relationships xmlns="http://schemas.openxmlformats.org/package/2006/relationships"><Relationship Id="rId3" Type="http://schemas.openxmlformats.org/officeDocument/2006/relationships/package" Target="../embeddings/Microsoft_Excel_Worksheet420.xlsx"/><Relationship Id="rId2" Type="http://schemas.microsoft.com/office/2011/relationships/chartColorStyle" Target="colors85.xml"/><Relationship Id="rId1" Type="http://schemas.microsoft.com/office/2011/relationships/chartStyle" Target="style85.xml"/></Relationships>
</file>

<file path=ppt/charts/_rels/chart422.xml.rels><?xml version="1.0" encoding="UTF-8" standalone="yes"?>
<Relationships xmlns="http://schemas.openxmlformats.org/package/2006/relationships"><Relationship Id="rId3" Type="http://schemas.openxmlformats.org/officeDocument/2006/relationships/package" Target="../embeddings/Microsoft_Excel_Worksheet421.xlsx"/><Relationship Id="rId2" Type="http://schemas.microsoft.com/office/2011/relationships/chartColorStyle" Target="colors86.xml"/><Relationship Id="rId1" Type="http://schemas.microsoft.com/office/2011/relationships/chartStyle" Target="style86.xml"/></Relationships>
</file>

<file path=ppt/charts/_rels/chart423.xml.rels><?xml version="1.0" encoding="UTF-8" standalone="yes"?>
<Relationships xmlns="http://schemas.openxmlformats.org/package/2006/relationships"><Relationship Id="rId3" Type="http://schemas.openxmlformats.org/officeDocument/2006/relationships/package" Target="../embeddings/Microsoft_Excel_Worksheet422.xlsx"/><Relationship Id="rId2" Type="http://schemas.microsoft.com/office/2011/relationships/chartColorStyle" Target="colors87.xml"/><Relationship Id="rId1" Type="http://schemas.microsoft.com/office/2011/relationships/chartStyle" Target="style87.xml"/></Relationships>
</file>

<file path=ppt/charts/_rels/chart424.xml.rels><?xml version="1.0" encoding="UTF-8" standalone="yes"?>
<Relationships xmlns="http://schemas.openxmlformats.org/package/2006/relationships"><Relationship Id="rId3" Type="http://schemas.openxmlformats.org/officeDocument/2006/relationships/package" Target="../embeddings/Microsoft_Excel_Worksheet423.xlsx"/><Relationship Id="rId2" Type="http://schemas.microsoft.com/office/2011/relationships/chartColorStyle" Target="colors88.xml"/><Relationship Id="rId1" Type="http://schemas.microsoft.com/office/2011/relationships/chartStyle" Target="style88.xml"/></Relationships>
</file>

<file path=ppt/charts/_rels/chart425.xml.rels><?xml version="1.0" encoding="UTF-8" standalone="yes"?>
<Relationships xmlns="http://schemas.openxmlformats.org/package/2006/relationships"><Relationship Id="rId3" Type="http://schemas.openxmlformats.org/officeDocument/2006/relationships/package" Target="../embeddings/Microsoft_Excel_Worksheet424.xlsx"/><Relationship Id="rId2" Type="http://schemas.microsoft.com/office/2011/relationships/chartColorStyle" Target="colors89.xml"/><Relationship Id="rId1" Type="http://schemas.microsoft.com/office/2011/relationships/chartStyle" Target="style89.xml"/></Relationships>
</file>

<file path=ppt/charts/_rels/chart426.xml.rels><?xml version="1.0" encoding="UTF-8" standalone="yes"?>
<Relationships xmlns="http://schemas.openxmlformats.org/package/2006/relationships"><Relationship Id="rId3" Type="http://schemas.openxmlformats.org/officeDocument/2006/relationships/package" Target="../embeddings/Microsoft_Excel_Worksheet425.xlsx"/><Relationship Id="rId2" Type="http://schemas.microsoft.com/office/2011/relationships/chartColorStyle" Target="colors90.xml"/><Relationship Id="rId1" Type="http://schemas.microsoft.com/office/2011/relationships/chartStyle" Target="style90.xml"/></Relationships>
</file>

<file path=ppt/charts/_rels/chart427.xml.rels><?xml version="1.0" encoding="UTF-8" standalone="yes"?>
<Relationships xmlns="http://schemas.openxmlformats.org/package/2006/relationships"><Relationship Id="rId3" Type="http://schemas.openxmlformats.org/officeDocument/2006/relationships/package" Target="../embeddings/Microsoft_Excel_Worksheet426.xlsx"/><Relationship Id="rId2" Type="http://schemas.microsoft.com/office/2011/relationships/chartColorStyle" Target="colors91.xml"/><Relationship Id="rId1" Type="http://schemas.microsoft.com/office/2011/relationships/chartStyle" Target="style91.xml"/></Relationships>
</file>

<file path=ppt/charts/_rels/chart428.xml.rels><?xml version="1.0" encoding="UTF-8" standalone="yes"?>
<Relationships xmlns="http://schemas.openxmlformats.org/package/2006/relationships"><Relationship Id="rId3" Type="http://schemas.openxmlformats.org/officeDocument/2006/relationships/package" Target="../embeddings/Microsoft_Excel_Worksheet427.xlsx"/><Relationship Id="rId2" Type="http://schemas.microsoft.com/office/2011/relationships/chartColorStyle" Target="colors92.xml"/><Relationship Id="rId1" Type="http://schemas.microsoft.com/office/2011/relationships/chartStyle" Target="style92.xml"/></Relationships>
</file>

<file path=ppt/charts/_rels/chart429.xml.rels><?xml version="1.0" encoding="UTF-8" standalone="yes"?>
<Relationships xmlns="http://schemas.openxmlformats.org/package/2006/relationships"><Relationship Id="rId3" Type="http://schemas.openxmlformats.org/officeDocument/2006/relationships/package" Target="../embeddings/Microsoft_Excel_Worksheet428.xlsx"/><Relationship Id="rId2" Type="http://schemas.microsoft.com/office/2011/relationships/chartColorStyle" Target="colors93.xml"/><Relationship Id="rId1" Type="http://schemas.microsoft.com/office/2011/relationships/chartStyle" Target="style93.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3" Type="http://schemas.openxmlformats.org/officeDocument/2006/relationships/package" Target="../embeddings/Microsoft_Excel_Worksheet429.xlsx"/><Relationship Id="rId2" Type="http://schemas.microsoft.com/office/2011/relationships/chartColorStyle" Target="colors94.xml"/><Relationship Id="rId1" Type="http://schemas.microsoft.com/office/2011/relationships/chartStyle" Target="style94.xml"/></Relationships>
</file>

<file path=ppt/charts/_rels/chart431.xml.rels><?xml version="1.0" encoding="UTF-8" standalone="yes"?>
<Relationships xmlns="http://schemas.openxmlformats.org/package/2006/relationships"><Relationship Id="rId3" Type="http://schemas.openxmlformats.org/officeDocument/2006/relationships/package" Target="../embeddings/Microsoft_Excel_Worksheet430.xlsx"/><Relationship Id="rId2" Type="http://schemas.microsoft.com/office/2011/relationships/chartColorStyle" Target="colors95.xml"/><Relationship Id="rId1" Type="http://schemas.microsoft.com/office/2011/relationships/chartStyle" Target="style95.xml"/></Relationships>
</file>

<file path=ppt/charts/_rels/chart432.xml.rels><?xml version="1.0" encoding="UTF-8" standalone="yes"?>
<Relationships xmlns="http://schemas.openxmlformats.org/package/2006/relationships"><Relationship Id="rId3" Type="http://schemas.openxmlformats.org/officeDocument/2006/relationships/package" Target="../embeddings/Microsoft_Excel_Worksheet431.xlsx"/><Relationship Id="rId2" Type="http://schemas.microsoft.com/office/2011/relationships/chartColorStyle" Target="colors96.xml"/><Relationship Id="rId1" Type="http://schemas.microsoft.com/office/2011/relationships/chartStyle" Target="style96.xml"/></Relationships>
</file>

<file path=ppt/charts/_rels/chart433.xml.rels><?xml version="1.0" encoding="UTF-8" standalone="yes"?>
<Relationships xmlns="http://schemas.openxmlformats.org/package/2006/relationships"><Relationship Id="rId3" Type="http://schemas.openxmlformats.org/officeDocument/2006/relationships/package" Target="../embeddings/Microsoft_Excel_Worksheet432.xlsx"/><Relationship Id="rId2" Type="http://schemas.microsoft.com/office/2011/relationships/chartColorStyle" Target="colors97.xml"/><Relationship Id="rId1" Type="http://schemas.microsoft.com/office/2011/relationships/chartStyle" Target="style97.xml"/></Relationships>
</file>

<file path=ppt/charts/_rels/chart434.xml.rels><?xml version="1.0" encoding="UTF-8" standalone="yes"?>
<Relationships xmlns="http://schemas.openxmlformats.org/package/2006/relationships"><Relationship Id="rId3" Type="http://schemas.openxmlformats.org/officeDocument/2006/relationships/package" Target="../embeddings/Microsoft_Excel_Worksheet433.xlsx"/><Relationship Id="rId2" Type="http://schemas.microsoft.com/office/2011/relationships/chartColorStyle" Target="colors98.xml"/><Relationship Id="rId1" Type="http://schemas.microsoft.com/office/2011/relationships/chartStyle" Target="style98.xml"/></Relationships>
</file>

<file path=ppt/charts/_rels/chart435.xml.rels><?xml version="1.0" encoding="UTF-8" standalone="yes"?>
<Relationships xmlns="http://schemas.openxmlformats.org/package/2006/relationships"><Relationship Id="rId3" Type="http://schemas.openxmlformats.org/officeDocument/2006/relationships/package" Target="../embeddings/Microsoft_Excel_Worksheet434.xlsx"/><Relationship Id="rId2" Type="http://schemas.microsoft.com/office/2011/relationships/chartColorStyle" Target="colors99.xml"/><Relationship Id="rId1" Type="http://schemas.microsoft.com/office/2011/relationships/chartStyle" Target="style99.xml"/></Relationships>
</file>

<file path=ppt/charts/_rels/chart436.xml.rels><?xml version="1.0" encoding="UTF-8" standalone="yes"?>
<Relationships xmlns="http://schemas.openxmlformats.org/package/2006/relationships"><Relationship Id="rId3" Type="http://schemas.openxmlformats.org/officeDocument/2006/relationships/package" Target="../embeddings/Microsoft_Excel_Worksheet435.xlsx"/><Relationship Id="rId2" Type="http://schemas.microsoft.com/office/2011/relationships/chartColorStyle" Target="colors100.xml"/><Relationship Id="rId1" Type="http://schemas.microsoft.com/office/2011/relationships/chartStyle" Target="style100.xml"/></Relationships>
</file>

<file path=ppt/charts/_rels/chart437.xml.rels><?xml version="1.0" encoding="UTF-8" standalone="yes"?>
<Relationships xmlns="http://schemas.openxmlformats.org/package/2006/relationships"><Relationship Id="rId3" Type="http://schemas.openxmlformats.org/officeDocument/2006/relationships/package" Target="../embeddings/Microsoft_Excel_Worksheet436.xlsx"/><Relationship Id="rId2" Type="http://schemas.microsoft.com/office/2011/relationships/chartColorStyle" Target="colors101.xml"/><Relationship Id="rId1" Type="http://schemas.microsoft.com/office/2011/relationships/chartStyle" Target="style101.xml"/></Relationships>
</file>

<file path=ppt/charts/_rels/chart438.xml.rels><?xml version="1.0" encoding="UTF-8" standalone="yes"?>
<Relationships xmlns="http://schemas.openxmlformats.org/package/2006/relationships"><Relationship Id="rId3" Type="http://schemas.openxmlformats.org/officeDocument/2006/relationships/package" Target="../embeddings/Microsoft_Excel_Worksheet437.xlsx"/><Relationship Id="rId2" Type="http://schemas.microsoft.com/office/2011/relationships/chartColorStyle" Target="colors102.xml"/><Relationship Id="rId1" Type="http://schemas.microsoft.com/office/2011/relationships/chartStyle" Target="style102.xml"/></Relationships>
</file>

<file path=ppt/charts/_rels/chart439.xml.rels><?xml version="1.0" encoding="UTF-8" standalone="yes"?>
<Relationships xmlns="http://schemas.openxmlformats.org/package/2006/relationships"><Relationship Id="rId3" Type="http://schemas.openxmlformats.org/officeDocument/2006/relationships/package" Target="../embeddings/Microsoft_Excel_Worksheet438.xlsx"/><Relationship Id="rId2" Type="http://schemas.microsoft.com/office/2011/relationships/chartColorStyle" Target="colors103.xml"/><Relationship Id="rId1" Type="http://schemas.microsoft.com/office/2011/relationships/chartStyle" Target="style103.xml"/></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3" Type="http://schemas.openxmlformats.org/officeDocument/2006/relationships/package" Target="../embeddings/Microsoft_Excel_Worksheet439.xlsx"/><Relationship Id="rId2" Type="http://schemas.microsoft.com/office/2011/relationships/chartColorStyle" Target="colors104.xml"/><Relationship Id="rId1" Type="http://schemas.microsoft.com/office/2011/relationships/chartStyle" Target="style104.xml"/></Relationships>
</file>

<file path=ppt/charts/_rels/chart441.xml.rels><?xml version="1.0" encoding="UTF-8" standalone="yes"?>
<Relationships xmlns="http://schemas.openxmlformats.org/package/2006/relationships"><Relationship Id="rId3" Type="http://schemas.openxmlformats.org/officeDocument/2006/relationships/package" Target="../embeddings/Microsoft_Excel_Worksheet440.xlsx"/><Relationship Id="rId2" Type="http://schemas.microsoft.com/office/2011/relationships/chartColorStyle" Target="colors105.xml"/><Relationship Id="rId1" Type="http://schemas.microsoft.com/office/2011/relationships/chartStyle" Target="style105.xml"/></Relationships>
</file>

<file path=ppt/charts/_rels/chart442.xml.rels><?xml version="1.0" encoding="UTF-8" standalone="yes"?>
<Relationships xmlns="http://schemas.openxmlformats.org/package/2006/relationships"><Relationship Id="rId3" Type="http://schemas.openxmlformats.org/officeDocument/2006/relationships/package" Target="../embeddings/Microsoft_Excel_Worksheet441.xlsx"/><Relationship Id="rId2" Type="http://schemas.microsoft.com/office/2011/relationships/chartColorStyle" Target="colors106.xml"/><Relationship Id="rId1" Type="http://schemas.microsoft.com/office/2011/relationships/chartStyle" Target="style106.xml"/></Relationships>
</file>

<file path=ppt/charts/_rels/chart443.xml.rels><?xml version="1.0" encoding="UTF-8" standalone="yes"?>
<Relationships xmlns="http://schemas.openxmlformats.org/package/2006/relationships"><Relationship Id="rId3" Type="http://schemas.openxmlformats.org/officeDocument/2006/relationships/package" Target="../embeddings/Microsoft_Excel_Worksheet442.xlsx"/><Relationship Id="rId2" Type="http://schemas.microsoft.com/office/2011/relationships/chartColorStyle" Target="colors107.xml"/><Relationship Id="rId1" Type="http://schemas.microsoft.com/office/2011/relationships/chartStyle" Target="style107.xml"/></Relationships>
</file>

<file path=ppt/charts/_rels/chart444.xml.rels><?xml version="1.0" encoding="UTF-8" standalone="yes"?>
<Relationships xmlns="http://schemas.openxmlformats.org/package/2006/relationships"><Relationship Id="rId3" Type="http://schemas.openxmlformats.org/officeDocument/2006/relationships/package" Target="../embeddings/Microsoft_Excel_Worksheet443.xlsx"/><Relationship Id="rId2" Type="http://schemas.microsoft.com/office/2011/relationships/chartColorStyle" Target="colors108.xml"/><Relationship Id="rId1" Type="http://schemas.microsoft.com/office/2011/relationships/chartStyle" Target="style108.xml"/></Relationships>
</file>

<file path=ppt/charts/_rels/chart445.xml.rels><?xml version="1.0" encoding="UTF-8" standalone="yes"?>
<Relationships xmlns="http://schemas.openxmlformats.org/package/2006/relationships"><Relationship Id="rId3" Type="http://schemas.openxmlformats.org/officeDocument/2006/relationships/package" Target="../embeddings/Microsoft_Excel_Worksheet444.xlsx"/><Relationship Id="rId2" Type="http://schemas.microsoft.com/office/2011/relationships/chartColorStyle" Target="colors109.xml"/><Relationship Id="rId1" Type="http://schemas.microsoft.com/office/2011/relationships/chartStyle" Target="style109.xml"/></Relationships>
</file>

<file path=ppt/charts/_rels/chart446.xml.rels><?xml version="1.0" encoding="UTF-8" standalone="yes"?>
<Relationships xmlns="http://schemas.openxmlformats.org/package/2006/relationships"><Relationship Id="rId3" Type="http://schemas.openxmlformats.org/officeDocument/2006/relationships/package" Target="../embeddings/Microsoft_Excel_Worksheet445.xlsx"/><Relationship Id="rId2" Type="http://schemas.microsoft.com/office/2011/relationships/chartColorStyle" Target="colors110.xml"/><Relationship Id="rId1" Type="http://schemas.microsoft.com/office/2011/relationships/chartStyle" Target="style110.xml"/></Relationships>
</file>

<file path=ppt/charts/_rels/chart447.xml.rels><?xml version="1.0" encoding="UTF-8" standalone="yes"?>
<Relationships xmlns="http://schemas.openxmlformats.org/package/2006/relationships"><Relationship Id="rId3" Type="http://schemas.openxmlformats.org/officeDocument/2006/relationships/package" Target="../embeddings/Microsoft_Excel_Worksheet446.xlsx"/><Relationship Id="rId2" Type="http://schemas.microsoft.com/office/2011/relationships/chartColorStyle" Target="colors111.xml"/><Relationship Id="rId1" Type="http://schemas.microsoft.com/office/2011/relationships/chartStyle" Target="style111.xml"/></Relationships>
</file>

<file path=ppt/charts/_rels/chart448.xml.rels><?xml version="1.0" encoding="UTF-8" standalone="yes"?>
<Relationships xmlns="http://schemas.openxmlformats.org/package/2006/relationships"><Relationship Id="rId3" Type="http://schemas.openxmlformats.org/officeDocument/2006/relationships/package" Target="../embeddings/Microsoft_Excel_Worksheet447.xlsx"/><Relationship Id="rId2" Type="http://schemas.microsoft.com/office/2011/relationships/chartColorStyle" Target="colors112.xml"/><Relationship Id="rId1" Type="http://schemas.microsoft.com/office/2011/relationships/chartStyle" Target="style112.xml"/></Relationships>
</file>

<file path=ppt/charts/_rels/chart449.xml.rels><?xml version="1.0" encoding="UTF-8" standalone="yes"?>
<Relationships xmlns="http://schemas.openxmlformats.org/package/2006/relationships"><Relationship Id="rId3" Type="http://schemas.openxmlformats.org/officeDocument/2006/relationships/package" Target="../embeddings/Microsoft_Excel_Worksheet448.xlsx"/><Relationship Id="rId2" Type="http://schemas.microsoft.com/office/2011/relationships/chartColorStyle" Target="colors113.xml"/><Relationship Id="rId1" Type="http://schemas.microsoft.com/office/2011/relationships/chartStyle" Target="style113.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3" Type="http://schemas.openxmlformats.org/officeDocument/2006/relationships/package" Target="../embeddings/Microsoft_Excel_Worksheet449.xlsx"/><Relationship Id="rId2" Type="http://schemas.microsoft.com/office/2011/relationships/chartColorStyle" Target="colors114.xml"/><Relationship Id="rId1" Type="http://schemas.microsoft.com/office/2011/relationships/chartStyle" Target="style114.xml"/></Relationships>
</file>

<file path=ppt/charts/_rels/chart451.xml.rels><?xml version="1.0" encoding="UTF-8" standalone="yes"?>
<Relationships xmlns="http://schemas.openxmlformats.org/package/2006/relationships"><Relationship Id="rId3" Type="http://schemas.openxmlformats.org/officeDocument/2006/relationships/package" Target="../embeddings/Microsoft_Excel_Worksheet450.xlsx"/><Relationship Id="rId2" Type="http://schemas.microsoft.com/office/2011/relationships/chartColorStyle" Target="colors115.xml"/><Relationship Id="rId1" Type="http://schemas.microsoft.com/office/2011/relationships/chartStyle" Target="style115.xml"/></Relationships>
</file>

<file path=ppt/charts/_rels/chart452.xml.rels><?xml version="1.0" encoding="UTF-8" standalone="yes"?>
<Relationships xmlns="http://schemas.openxmlformats.org/package/2006/relationships"><Relationship Id="rId3" Type="http://schemas.openxmlformats.org/officeDocument/2006/relationships/package" Target="../embeddings/Microsoft_Excel_Worksheet451.xlsx"/><Relationship Id="rId2" Type="http://schemas.microsoft.com/office/2011/relationships/chartColorStyle" Target="colors116.xml"/><Relationship Id="rId1" Type="http://schemas.microsoft.com/office/2011/relationships/chartStyle" Target="style116.xml"/></Relationships>
</file>

<file path=ppt/charts/_rels/chart453.xml.rels><?xml version="1.0" encoding="UTF-8" standalone="yes"?>
<Relationships xmlns="http://schemas.openxmlformats.org/package/2006/relationships"><Relationship Id="rId3" Type="http://schemas.openxmlformats.org/officeDocument/2006/relationships/package" Target="../embeddings/Microsoft_Excel_Worksheet452.xlsx"/><Relationship Id="rId2" Type="http://schemas.microsoft.com/office/2011/relationships/chartColorStyle" Target="colors117.xml"/><Relationship Id="rId1" Type="http://schemas.microsoft.com/office/2011/relationships/chartStyle" Target="style117.xml"/></Relationships>
</file>

<file path=ppt/charts/_rels/chart454.xml.rels><?xml version="1.0" encoding="UTF-8" standalone="yes"?>
<Relationships xmlns="http://schemas.openxmlformats.org/package/2006/relationships"><Relationship Id="rId3" Type="http://schemas.openxmlformats.org/officeDocument/2006/relationships/package" Target="../embeddings/Microsoft_Excel_Worksheet453.xlsx"/><Relationship Id="rId2" Type="http://schemas.microsoft.com/office/2011/relationships/chartColorStyle" Target="colors118.xml"/><Relationship Id="rId1" Type="http://schemas.microsoft.com/office/2011/relationships/chartStyle" Target="style118.xml"/></Relationships>
</file>

<file path=ppt/charts/_rels/chart455.xml.rels><?xml version="1.0" encoding="UTF-8" standalone="yes"?>
<Relationships xmlns="http://schemas.openxmlformats.org/package/2006/relationships"><Relationship Id="rId3" Type="http://schemas.openxmlformats.org/officeDocument/2006/relationships/package" Target="../embeddings/Microsoft_Excel_Worksheet454.xlsx"/><Relationship Id="rId2" Type="http://schemas.microsoft.com/office/2011/relationships/chartColorStyle" Target="colors119.xml"/><Relationship Id="rId1" Type="http://schemas.microsoft.com/office/2011/relationships/chartStyle" Target="style119.xml"/></Relationships>
</file>

<file path=ppt/charts/_rels/chart456.xml.rels><?xml version="1.0" encoding="UTF-8" standalone="yes"?>
<Relationships xmlns="http://schemas.openxmlformats.org/package/2006/relationships"><Relationship Id="rId3" Type="http://schemas.openxmlformats.org/officeDocument/2006/relationships/package" Target="../embeddings/Microsoft_Excel_Worksheet455.xlsx"/><Relationship Id="rId2" Type="http://schemas.microsoft.com/office/2011/relationships/chartColorStyle" Target="colors120.xml"/><Relationship Id="rId1" Type="http://schemas.microsoft.com/office/2011/relationships/chartStyle" Target="style120.xml"/></Relationships>
</file>

<file path=ppt/charts/_rels/chart457.xml.rels><?xml version="1.0" encoding="UTF-8" standalone="yes"?>
<Relationships xmlns="http://schemas.openxmlformats.org/package/2006/relationships"><Relationship Id="rId3" Type="http://schemas.openxmlformats.org/officeDocument/2006/relationships/package" Target="../embeddings/Microsoft_Excel_Worksheet456.xlsx"/><Relationship Id="rId2" Type="http://schemas.microsoft.com/office/2011/relationships/chartColorStyle" Target="colors121.xml"/><Relationship Id="rId1" Type="http://schemas.microsoft.com/office/2011/relationships/chartStyle" Target="style121.xml"/></Relationships>
</file>

<file path=ppt/charts/_rels/chart458.xml.rels><?xml version="1.0" encoding="UTF-8" standalone="yes"?>
<Relationships xmlns="http://schemas.openxmlformats.org/package/2006/relationships"><Relationship Id="rId3" Type="http://schemas.openxmlformats.org/officeDocument/2006/relationships/package" Target="../embeddings/Microsoft_Excel_Worksheet457.xlsx"/><Relationship Id="rId2" Type="http://schemas.microsoft.com/office/2011/relationships/chartColorStyle" Target="colors122.xml"/><Relationship Id="rId1" Type="http://schemas.microsoft.com/office/2011/relationships/chartStyle" Target="style122.xml"/></Relationships>
</file>

<file path=ppt/charts/_rels/chart459.xml.rels><?xml version="1.0" encoding="UTF-8" standalone="yes"?>
<Relationships xmlns="http://schemas.openxmlformats.org/package/2006/relationships"><Relationship Id="rId3" Type="http://schemas.openxmlformats.org/officeDocument/2006/relationships/package" Target="../embeddings/Microsoft_Excel_Worksheet458.xlsx"/><Relationship Id="rId2" Type="http://schemas.microsoft.com/office/2011/relationships/chartColorStyle" Target="colors123.xml"/><Relationship Id="rId1" Type="http://schemas.microsoft.com/office/2011/relationships/chartStyle" Target="style123.xml"/></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3" Type="http://schemas.openxmlformats.org/officeDocument/2006/relationships/package" Target="../embeddings/Microsoft_Excel_Worksheet459.xlsx"/><Relationship Id="rId2" Type="http://schemas.microsoft.com/office/2011/relationships/chartColorStyle" Target="colors124.xml"/><Relationship Id="rId1" Type="http://schemas.microsoft.com/office/2011/relationships/chartStyle" Target="style124.xml"/></Relationships>
</file>

<file path=ppt/charts/_rels/chart461.xml.rels><?xml version="1.0" encoding="UTF-8" standalone="yes"?>
<Relationships xmlns="http://schemas.openxmlformats.org/package/2006/relationships"><Relationship Id="rId3" Type="http://schemas.openxmlformats.org/officeDocument/2006/relationships/package" Target="../embeddings/Microsoft_Excel_Worksheet460.xlsx"/><Relationship Id="rId2" Type="http://schemas.microsoft.com/office/2011/relationships/chartColorStyle" Target="colors125.xml"/><Relationship Id="rId1" Type="http://schemas.microsoft.com/office/2011/relationships/chartStyle" Target="style125.xml"/></Relationships>
</file>

<file path=ppt/charts/_rels/chart462.xml.rels><?xml version="1.0" encoding="UTF-8" standalone="yes"?>
<Relationships xmlns="http://schemas.openxmlformats.org/package/2006/relationships"><Relationship Id="rId3" Type="http://schemas.openxmlformats.org/officeDocument/2006/relationships/package" Target="../embeddings/Microsoft_Excel_Worksheet461.xlsx"/><Relationship Id="rId2" Type="http://schemas.microsoft.com/office/2011/relationships/chartColorStyle" Target="colors126.xml"/><Relationship Id="rId1" Type="http://schemas.microsoft.com/office/2011/relationships/chartStyle" Target="style126.xml"/></Relationships>
</file>

<file path=ppt/charts/_rels/chart463.xml.rels><?xml version="1.0" encoding="UTF-8" standalone="yes"?>
<Relationships xmlns="http://schemas.openxmlformats.org/package/2006/relationships"><Relationship Id="rId3" Type="http://schemas.openxmlformats.org/officeDocument/2006/relationships/package" Target="../embeddings/Microsoft_Excel_Worksheet462.xlsx"/><Relationship Id="rId2" Type="http://schemas.microsoft.com/office/2011/relationships/chartColorStyle" Target="colors127.xml"/><Relationship Id="rId1" Type="http://schemas.microsoft.com/office/2011/relationships/chartStyle" Target="style127.xml"/></Relationships>
</file>

<file path=ppt/charts/_rels/chart464.xml.rels><?xml version="1.0" encoding="UTF-8" standalone="yes"?>
<Relationships xmlns="http://schemas.openxmlformats.org/package/2006/relationships"><Relationship Id="rId3" Type="http://schemas.openxmlformats.org/officeDocument/2006/relationships/package" Target="../embeddings/Microsoft_Excel_Worksheet463.xlsx"/><Relationship Id="rId2" Type="http://schemas.microsoft.com/office/2011/relationships/chartColorStyle" Target="colors128.xml"/><Relationship Id="rId1" Type="http://schemas.microsoft.com/office/2011/relationships/chartStyle" Target="style128.xml"/></Relationships>
</file>

<file path=ppt/charts/_rels/chart465.xml.rels><?xml version="1.0" encoding="UTF-8" standalone="yes"?>
<Relationships xmlns="http://schemas.openxmlformats.org/package/2006/relationships"><Relationship Id="rId3" Type="http://schemas.openxmlformats.org/officeDocument/2006/relationships/package" Target="../embeddings/Microsoft_Excel_Worksheet464.xlsx"/><Relationship Id="rId2" Type="http://schemas.microsoft.com/office/2011/relationships/chartColorStyle" Target="colors129.xml"/><Relationship Id="rId1" Type="http://schemas.microsoft.com/office/2011/relationships/chartStyle" Target="style129.xml"/></Relationships>
</file>

<file path=ppt/charts/_rels/chart466.xml.rels><?xml version="1.0" encoding="UTF-8" standalone="yes"?>
<Relationships xmlns="http://schemas.openxmlformats.org/package/2006/relationships"><Relationship Id="rId3" Type="http://schemas.openxmlformats.org/officeDocument/2006/relationships/package" Target="../embeddings/Microsoft_Excel_Worksheet465.xlsx"/><Relationship Id="rId2" Type="http://schemas.microsoft.com/office/2011/relationships/chartColorStyle" Target="colors130.xml"/><Relationship Id="rId1" Type="http://schemas.microsoft.com/office/2011/relationships/chartStyle" Target="style130.xml"/></Relationships>
</file>

<file path=ppt/charts/_rels/chart467.xml.rels><?xml version="1.0" encoding="UTF-8" standalone="yes"?>
<Relationships xmlns="http://schemas.openxmlformats.org/package/2006/relationships"><Relationship Id="rId3" Type="http://schemas.openxmlformats.org/officeDocument/2006/relationships/package" Target="../embeddings/Microsoft_Excel_Worksheet466.xlsx"/><Relationship Id="rId2" Type="http://schemas.microsoft.com/office/2011/relationships/chartColorStyle" Target="colors131.xml"/><Relationship Id="rId1" Type="http://schemas.microsoft.com/office/2011/relationships/chartStyle" Target="style131.xml"/></Relationships>
</file>

<file path=ppt/charts/_rels/chart468.xml.rels><?xml version="1.0" encoding="UTF-8" standalone="yes"?>
<Relationships xmlns="http://schemas.openxmlformats.org/package/2006/relationships"><Relationship Id="rId3" Type="http://schemas.openxmlformats.org/officeDocument/2006/relationships/package" Target="../embeddings/Microsoft_Excel_Worksheet467.xlsx"/><Relationship Id="rId2" Type="http://schemas.microsoft.com/office/2011/relationships/chartColorStyle" Target="colors132.xml"/><Relationship Id="rId1" Type="http://schemas.microsoft.com/office/2011/relationships/chartStyle" Target="style132.xml"/></Relationships>
</file>

<file path=ppt/charts/_rels/chart469.xml.rels><?xml version="1.0" encoding="UTF-8" standalone="yes"?>
<Relationships xmlns="http://schemas.openxmlformats.org/package/2006/relationships"><Relationship Id="rId3" Type="http://schemas.openxmlformats.org/officeDocument/2006/relationships/package" Target="../embeddings/Microsoft_Excel_Worksheet468.xlsx"/><Relationship Id="rId2" Type="http://schemas.microsoft.com/office/2011/relationships/chartColorStyle" Target="colors133.xml"/><Relationship Id="rId1" Type="http://schemas.microsoft.com/office/2011/relationships/chartStyle" Target="style133.xml"/></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3" Type="http://schemas.openxmlformats.org/officeDocument/2006/relationships/package" Target="../embeddings/Microsoft_Excel_Worksheet469.xlsx"/><Relationship Id="rId2" Type="http://schemas.microsoft.com/office/2011/relationships/chartColorStyle" Target="colors134.xml"/><Relationship Id="rId1" Type="http://schemas.microsoft.com/office/2011/relationships/chartStyle" Target="style134.xml"/></Relationships>
</file>

<file path=ppt/charts/_rels/chart471.xml.rels><?xml version="1.0" encoding="UTF-8" standalone="yes"?>
<Relationships xmlns="http://schemas.openxmlformats.org/package/2006/relationships"><Relationship Id="rId3" Type="http://schemas.openxmlformats.org/officeDocument/2006/relationships/package" Target="../embeddings/Microsoft_Excel_Worksheet470.xlsx"/><Relationship Id="rId2" Type="http://schemas.microsoft.com/office/2011/relationships/chartColorStyle" Target="colors135.xml"/><Relationship Id="rId1" Type="http://schemas.microsoft.com/office/2011/relationships/chartStyle" Target="style135.xml"/></Relationships>
</file>

<file path=ppt/charts/_rels/chart472.xml.rels><?xml version="1.0" encoding="UTF-8" standalone="yes"?>
<Relationships xmlns="http://schemas.openxmlformats.org/package/2006/relationships"><Relationship Id="rId3" Type="http://schemas.openxmlformats.org/officeDocument/2006/relationships/package" Target="../embeddings/Microsoft_Excel_Worksheet471.xlsx"/><Relationship Id="rId2" Type="http://schemas.microsoft.com/office/2011/relationships/chartColorStyle" Target="colors136.xml"/><Relationship Id="rId1" Type="http://schemas.microsoft.com/office/2011/relationships/chartStyle" Target="style136.xml"/></Relationships>
</file>

<file path=ppt/charts/_rels/chart473.xml.rels><?xml version="1.0" encoding="UTF-8" standalone="yes"?>
<Relationships xmlns="http://schemas.openxmlformats.org/package/2006/relationships"><Relationship Id="rId3" Type="http://schemas.openxmlformats.org/officeDocument/2006/relationships/package" Target="../embeddings/Microsoft_Excel_Worksheet472.xlsx"/><Relationship Id="rId2" Type="http://schemas.microsoft.com/office/2011/relationships/chartColorStyle" Target="colors137.xml"/><Relationship Id="rId1" Type="http://schemas.microsoft.com/office/2011/relationships/chartStyle" Target="style137.xml"/></Relationships>
</file>

<file path=ppt/charts/_rels/chart474.xml.rels><?xml version="1.0" encoding="UTF-8" standalone="yes"?>
<Relationships xmlns="http://schemas.openxmlformats.org/package/2006/relationships"><Relationship Id="rId3" Type="http://schemas.openxmlformats.org/officeDocument/2006/relationships/package" Target="../embeddings/Microsoft_Excel_Worksheet473.xlsx"/><Relationship Id="rId2" Type="http://schemas.microsoft.com/office/2011/relationships/chartColorStyle" Target="colors138.xml"/><Relationship Id="rId1" Type="http://schemas.microsoft.com/office/2011/relationships/chartStyle" Target="style138.xml"/></Relationships>
</file>

<file path=ppt/charts/_rels/chart475.xml.rels><?xml version="1.0" encoding="UTF-8" standalone="yes"?>
<Relationships xmlns="http://schemas.openxmlformats.org/package/2006/relationships"><Relationship Id="rId3" Type="http://schemas.openxmlformats.org/officeDocument/2006/relationships/package" Target="../embeddings/Microsoft_Excel_Worksheet474.xlsx"/><Relationship Id="rId2" Type="http://schemas.microsoft.com/office/2011/relationships/chartColorStyle" Target="colors139.xml"/><Relationship Id="rId1" Type="http://schemas.microsoft.com/office/2011/relationships/chartStyle" Target="style139.xml"/></Relationships>
</file>

<file path=ppt/charts/_rels/chart476.xml.rels><?xml version="1.0" encoding="UTF-8" standalone="yes"?>
<Relationships xmlns="http://schemas.openxmlformats.org/package/2006/relationships"><Relationship Id="rId3" Type="http://schemas.openxmlformats.org/officeDocument/2006/relationships/package" Target="../embeddings/Microsoft_Excel_Worksheet475.xlsx"/><Relationship Id="rId2" Type="http://schemas.microsoft.com/office/2011/relationships/chartColorStyle" Target="colors140.xml"/><Relationship Id="rId1" Type="http://schemas.microsoft.com/office/2011/relationships/chartStyle" Target="style140.xml"/></Relationships>
</file>

<file path=ppt/charts/_rels/chart477.xml.rels><?xml version="1.0" encoding="UTF-8" standalone="yes"?>
<Relationships xmlns="http://schemas.openxmlformats.org/package/2006/relationships"><Relationship Id="rId3" Type="http://schemas.openxmlformats.org/officeDocument/2006/relationships/package" Target="../embeddings/Microsoft_Excel_Worksheet476.xlsx"/><Relationship Id="rId2" Type="http://schemas.microsoft.com/office/2011/relationships/chartColorStyle" Target="colors141.xml"/><Relationship Id="rId1" Type="http://schemas.microsoft.com/office/2011/relationships/chartStyle" Target="style141.xml"/></Relationships>
</file>

<file path=ppt/charts/_rels/chart478.xml.rels><?xml version="1.0" encoding="UTF-8" standalone="yes"?>
<Relationships xmlns="http://schemas.openxmlformats.org/package/2006/relationships"><Relationship Id="rId3" Type="http://schemas.openxmlformats.org/officeDocument/2006/relationships/package" Target="../embeddings/Microsoft_Excel_Worksheet477.xlsx"/><Relationship Id="rId2" Type="http://schemas.microsoft.com/office/2011/relationships/chartColorStyle" Target="colors142.xml"/><Relationship Id="rId1" Type="http://schemas.microsoft.com/office/2011/relationships/chartStyle" Target="style142.xml"/></Relationships>
</file>

<file path=ppt/charts/_rels/chart479.xml.rels><?xml version="1.0" encoding="UTF-8" standalone="yes"?>
<Relationships xmlns="http://schemas.openxmlformats.org/package/2006/relationships"><Relationship Id="rId3" Type="http://schemas.openxmlformats.org/officeDocument/2006/relationships/package" Target="../embeddings/Microsoft_Excel_Worksheet478.xlsx"/><Relationship Id="rId2" Type="http://schemas.microsoft.com/office/2011/relationships/chartColorStyle" Target="colors143.xml"/><Relationship Id="rId1" Type="http://schemas.microsoft.com/office/2011/relationships/chartStyle" Target="style143.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3" Type="http://schemas.openxmlformats.org/officeDocument/2006/relationships/package" Target="../embeddings/Microsoft_Excel_Worksheet479.xlsx"/><Relationship Id="rId2" Type="http://schemas.microsoft.com/office/2011/relationships/chartColorStyle" Target="colors144.xml"/><Relationship Id="rId1" Type="http://schemas.microsoft.com/office/2011/relationships/chartStyle" Target="style144.xml"/></Relationships>
</file>

<file path=ppt/charts/_rels/chart481.xml.rels><?xml version="1.0" encoding="UTF-8" standalone="yes"?>
<Relationships xmlns="http://schemas.openxmlformats.org/package/2006/relationships"><Relationship Id="rId3" Type="http://schemas.openxmlformats.org/officeDocument/2006/relationships/package" Target="../embeddings/Microsoft_Excel_Worksheet480.xlsx"/><Relationship Id="rId2" Type="http://schemas.microsoft.com/office/2011/relationships/chartColorStyle" Target="colors145.xml"/><Relationship Id="rId1" Type="http://schemas.microsoft.com/office/2011/relationships/chartStyle" Target="style145.xml"/></Relationships>
</file>

<file path=ppt/charts/_rels/chart482.xml.rels><?xml version="1.0" encoding="UTF-8" standalone="yes"?>
<Relationships xmlns="http://schemas.openxmlformats.org/package/2006/relationships"><Relationship Id="rId3" Type="http://schemas.openxmlformats.org/officeDocument/2006/relationships/package" Target="../embeddings/Microsoft_Excel_Worksheet481.xlsx"/><Relationship Id="rId2" Type="http://schemas.microsoft.com/office/2011/relationships/chartColorStyle" Target="colors146.xml"/><Relationship Id="rId1" Type="http://schemas.microsoft.com/office/2011/relationships/chartStyle" Target="style146.xml"/></Relationships>
</file>

<file path=ppt/charts/_rels/chart483.xml.rels><?xml version="1.0" encoding="UTF-8" standalone="yes"?>
<Relationships xmlns="http://schemas.openxmlformats.org/package/2006/relationships"><Relationship Id="rId3" Type="http://schemas.openxmlformats.org/officeDocument/2006/relationships/package" Target="../embeddings/Microsoft_Excel_Worksheet482.xlsx"/><Relationship Id="rId2" Type="http://schemas.microsoft.com/office/2011/relationships/chartColorStyle" Target="colors147.xml"/><Relationship Id="rId1" Type="http://schemas.microsoft.com/office/2011/relationships/chartStyle" Target="style147.xml"/></Relationships>
</file>

<file path=ppt/charts/_rels/chart484.xml.rels><?xml version="1.0" encoding="UTF-8" standalone="yes"?>
<Relationships xmlns="http://schemas.openxmlformats.org/package/2006/relationships"><Relationship Id="rId3" Type="http://schemas.openxmlformats.org/officeDocument/2006/relationships/package" Target="../embeddings/Microsoft_Excel_Worksheet483.xlsx"/><Relationship Id="rId2" Type="http://schemas.microsoft.com/office/2011/relationships/chartColorStyle" Target="colors148.xml"/><Relationship Id="rId1" Type="http://schemas.microsoft.com/office/2011/relationships/chartStyle" Target="style148.xml"/></Relationships>
</file>

<file path=ppt/charts/_rels/chart485.xml.rels><?xml version="1.0" encoding="UTF-8" standalone="yes"?>
<Relationships xmlns="http://schemas.openxmlformats.org/package/2006/relationships"><Relationship Id="rId3" Type="http://schemas.openxmlformats.org/officeDocument/2006/relationships/package" Target="../embeddings/Microsoft_Excel_Worksheet484.xlsx"/><Relationship Id="rId2" Type="http://schemas.microsoft.com/office/2011/relationships/chartColorStyle" Target="colors149.xml"/><Relationship Id="rId1" Type="http://schemas.microsoft.com/office/2011/relationships/chartStyle" Target="style149.xml"/></Relationships>
</file>

<file path=ppt/charts/_rels/chart486.xml.rels><?xml version="1.0" encoding="UTF-8" standalone="yes"?>
<Relationships xmlns="http://schemas.openxmlformats.org/package/2006/relationships"><Relationship Id="rId3" Type="http://schemas.openxmlformats.org/officeDocument/2006/relationships/package" Target="../embeddings/Microsoft_Excel_Worksheet485.xlsx"/><Relationship Id="rId2" Type="http://schemas.microsoft.com/office/2011/relationships/chartColorStyle" Target="colors150.xml"/><Relationship Id="rId1" Type="http://schemas.microsoft.com/office/2011/relationships/chartStyle" Target="style150.xml"/></Relationships>
</file>

<file path=ppt/charts/_rels/chart487.xml.rels><?xml version="1.0" encoding="UTF-8" standalone="yes"?>
<Relationships xmlns="http://schemas.openxmlformats.org/package/2006/relationships"><Relationship Id="rId3" Type="http://schemas.openxmlformats.org/officeDocument/2006/relationships/package" Target="../embeddings/Microsoft_Excel_Worksheet486.xlsx"/><Relationship Id="rId2" Type="http://schemas.microsoft.com/office/2011/relationships/chartColorStyle" Target="colors151.xml"/><Relationship Id="rId1" Type="http://schemas.microsoft.com/office/2011/relationships/chartStyle" Target="style151.xml"/></Relationships>
</file>

<file path=ppt/charts/_rels/chart488.xml.rels><?xml version="1.0" encoding="UTF-8" standalone="yes"?>
<Relationships xmlns="http://schemas.openxmlformats.org/package/2006/relationships"><Relationship Id="rId3" Type="http://schemas.openxmlformats.org/officeDocument/2006/relationships/package" Target="../embeddings/Microsoft_Excel_Worksheet487.xlsx"/><Relationship Id="rId2" Type="http://schemas.microsoft.com/office/2011/relationships/chartColorStyle" Target="colors152.xml"/><Relationship Id="rId1" Type="http://schemas.microsoft.com/office/2011/relationships/chartStyle" Target="style152.xml"/></Relationships>
</file>

<file path=ppt/charts/_rels/chart489.xml.rels><?xml version="1.0" encoding="UTF-8" standalone="yes"?>
<Relationships xmlns="http://schemas.openxmlformats.org/package/2006/relationships"><Relationship Id="rId3" Type="http://schemas.openxmlformats.org/officeDocument/2006/relationships/package" Target="../embeddings/Microsoft_Excel_Worksheet488.xlsx"/><Relationship Id="rId2" Type="http://schemas.microsoft.com/office/2011/relationships/chartColorStyle" Target="colors153.xml"/><Relationship Id="rId1" Type="http://schemas.microsoft.com/office/2011/relationships/chartStyle" Target="style153.xml"/></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3" Type="http://schemas.openxmlformats.org/officeDocument/2006/relationships/package" Target="../embeddings/Microsoft_Excel_Worksheet489.xlsx"/><Relationship Id="rId2" Type="http://schemas.microsoft.com/office/2011/relationships/chartColorStyle" Target="colors154.xml"/><Relationship Id="rId1" Type="http://schemas.microsoft.com/office/2011/relationships/chartStyle" Target="style154.xml"/></Relationships>
</file>

<file path=ppt/charts/_rels/chart491.xml.rels><?xml version="1.0" encoding="UTF-8" standalone="yes"?>
<Relationships xmlns="http://schemas.openxmlformats.org/package/2006/relationships"><Relationship Id="rId3" Type="http://schemas.openxmlformats.org/officeDocument/2006/relationships/package" Target="../embeddings/Microsoft_Excel_Worksheet490.xlsx"/><Relationship Id="rId2" Type="http://schemas.microsoft.com/office/2011/relationships/chartColorStyle" Target="colors155.xml"/><Relationship Id="rId1" Type="http://schemas.microsoft.com/office/2011/relationships/chartStyle" Target="style155.xml"/></Relationships>
</file>

<file path=ppt/charts/_rels/chart492.xml.rels><?xml version="1.0" encoding="UTF-8" standalone="yes"?>
<Relationships xmlns="http://schemas.openxmlformats.org/package/2006/relationships"><Relationship Id="rId3" Type="http://schemas.openxmlformats.org/officeDocument/2006/relationships/package" Target="../embeddings/Microsoft_Excel_Worksheet491.xlsx"/><Relationship Id="rId2" Type="http://schemas.microsoft.com/office/2011/relationships/chartColorStyle" Target="colors156.xml"/><Relationship Id="rId1" Type="http://schemas.microsoft.com/office/2011/relationships/chartStyle" Target="style156.xml"/></Relationships>
</file>

<file path=ppt/charts/_rels/chart493.xml.rels><?xml version="1.0" encoding="UTF-8" standalone="yes"?>
<Relationships xmlns="http://schemas.openxmlformats.org/package/2006/relationships"><Relationship Id="rId3" Type="http://schemas.openxmlformats.org/officeDocument/2006/relationships/package" Target="../embeddings/Microsoft_Excel_Worksheet492.xlsx"/><Relationship Id="rId2" Type="http://schemas.microsoft.com/office/2011/relationships/chartColorStyle" Target="colors157.xml"/><Relationship Id="rId1" Type="http://schemas.microsoft.com/office/2011/relationships/chartStyle" Target="style157.xml"/></Relationships>
</file>

<file path=ppt/charts/_rels/chart494.xml.rels><?xml version="1.0" encoding="UTF-8" standalone="yes"?>
<Relationships xmlns="http://schemas.openxmlformats.org/package/2006/relationships"><Relationship Id="rId3" Type="http://schemas.openxmlformats.org/officeDocument/2006/relationships/package" Target="../embeddings/Microsoft_Excel_Worksheet493.xlsx"/><Relationship Id="rId2" Type="http://schemas.microsoft.com/office/2011/relationships/chartColorStyle" Target="colors158.xml"/><Relationship Id="rId1" Type="http://schemas.microsoft.com/office/2011/relationships/chartStyle" Target="style158.xml"/></Relationships>
</file>

<file path=ppt/charts/_rels/chart495.xml.rels><?xml version="1.0" encoding="UTF-8" standalone="yes"?>
<Relationships xmlns="http://schemas.openxmlformats.org/package/2006/relationships"><Relationship Id="rId3" Type="http://schemas.openxmlformats.org/officeDocument/2006/relationships/package" Target="../embeddings/Microsoft_Excel_Worksheet494.xlsx"/><Relationship Id="rId2" Type="http://schemas.microsoft.com/office/2011/relationships/chartColorStyle" Target="colors159.xml"/><Relationship Id="rId1" Type="http://schemas.microsoft.com/office/2011/relationships/chartStyle" Target="style159.xml"/></Relationships>
</file>

<file path=ppt/charts/_rels/chart496.xml.rels><?xml version="1.0" encoding="UTF-8" standalone="yes"?>
<Relationships xmlns="http://schemas.openxmlformats.org/package/2006/relationships"><Relationship Id="rId3" Type="http://schemas.openxmlformats.org/officeDocument/2006/relationships/package" Target="../embeddings/Microsoft_Excel_Worksheet495.xlsx"/><Relationship Id="rId2" Type="http://schemas.microsoft.com/office/2011/relationships/chartColorStyle" Target="colors160.xml"/><Relationship Id="rId1" Type="http://schemas.microsoft.com/office/2011/relationships/chartStyle" Target="style160.xml"/></Relationships>
</file>

<file path=ppt/charts/_rels/chart497.xml.rels><?xml version="1.0" encoding="UTF-8" standalone="yes"?>
<Relationships xmlns="http://schemas.openxmlformats.org/package/2006/relationships"><Relationship Id="rId3" Type="http://schemas.openxmlformats.org/officeDocument/2006/relationships/package" Target="../embeddings/Microsoft_Excel_Worksheet496.xlsx"/><Relationship Id="rId2" Type="http://schemas.microsoft.com/office/2011/relationships/chartColorStyle" Target="colors161.xml"/><Relationship Id="rId1" Type="http://schemas.microsoft.com/office/2011/relationships/chartStyle" Target="style161.xml"/></Relationships>
</file>

<file path=ppt/charts/_rels/chart498.xml.rels><?xml version="1.0" encoding="UTF-8" standalone="yes"?>
<Relationships xmlns="http://schemas.openxmlformats.org/package/2006/relationships"><Relationship Id="rId3" Type="http://schemas.openxmlformats.org/officeDocument/2006/relationships/package" Target="../embeddings/Microsoft_Excel_Worksheet497.xlsx"/><Relationship Id="rId2" Type="http://schemas.microsoft.com/office/2011/relationships/chartColorStyle" Target="colors162.xml"/><Relationship Id="rId1" Type="http://schemas.microsoft.com/office/2011/relationships/chartStyle" Target="style162.xml"/></Relationships>
</file>

<file path=ppt/charts/_rels/chart499.xml.rels><?xml version="1.0" encoding="UTF-8" standalone="yes"?>
<Relationships xmlns="http://schemas.openxmlformats.org/package/2006/relationships"><Relationship Id="rId3" Type="http://schemas.openxmlformats.org/officeDocument/2006/relationships/package" Target="../embeddings/Microsoft_Excel_Worksheet498.xlsx"/><Relationship Id="rId2" Type="http://schemas.microsoft.com/office/2011/relationships/chartColorStyle" Target="colors163.xml"/><Relationship Id="rId1" Type="http://schemas.microsoft.com/office/2011/relationships/chartStyle" Target="style16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3" Type="http://schemas.openxmlformats.org/officeDocument/2006/relationships/package" Target="../embeddings/Microsoft_Excel_Worksheet499.xlsx"/><Relationship Id="rId2" Type="http://schemas.microsoft.com/office/2011/relationships/chartColorStyle" Target="colors164.xml"/><Relationship Id="rId1" Type="http://schemas.microsoft.com/office/2011/relationships/chartStyle" Target="style164.xml"/></Relationships>
</file>

<file path=ppt/charts/_rels/chart501.xml.rels><?xml version="1.0" encoding="UTF-8" standalone="yes"?>
<Relationships xmlns="http://schemas.openxmlformats.org/package/2006/relationships"><Relationship Id="rId3" Type="http://schemas.openxmlformats.org/officeDocument/2006/relationships/package" Target="../embeddings/Microsoft_Excel_Worksheet500.xlsx"/><Relationship Id="rId2" Type="http://schemas.microsoft.com/office/2011/relationships/chartColorStyle" Target="colors165.xml"/><Relationship Id="rId1" Type="http://schemas.microsoft.com/office/2011/relationships/chartStyle" Target="style165.xml"/></Relationships>
</file>

<file path=ppt/charts/_rels/chart502.xml.rels><?xml version="1.0" encoding="UTF-8" standalone="yes"?>
<Relationships xmlns="http://schemas.openxmlformats.org/package/2006/relationships"><Relationship Id="rId3" Type="http://schemas.openxmlformats.org/officeDocument/2006/relationships/package" Target="../embeddings/Microsoft_Excel_Worksheet501.xlsx"/><Relationship Id="rId2" Type="http://schemas.microsoft.com/office/2011/relationships/chartColorStyle" Target="colors166.xml"/><Relationship Id="rId1" Type="http://schemas.microsoft.com/office/2011/relationships/chartStyle" Target="style166.xml"/></Relationships>
</file>

<file path=ppt/charts/_rels/chart503.xml.rels><?xml version="1.0" encoding="UTF-8" standalone="yes"?>
<Relationships xmlns="http://schemas.openxmlformats.org/package/2006/relationships"><Relationship Id="rId3" Type="http://schemas.openxmlformats.org/officeDocument/2006/relationships/package" Target="../embeddings/Microsoft_Excel_Worksheet502.xlsx"/><Relationship Id="rId2" Type="http://schemas.microsoft.com/office/2011/relationships/chartColorStyle" Target="colors167.xml"/><Relationship Id="rId1" Type="http://schemas.microsoft.com/office/2011/relationships/chartStyle" Target="style167.xml"/></Relationships>
</file>

<file path=ppt/charts/_rels/chart504.xml.rels><?xml version="1.0" encoding="UTF-8" standalone="yes"?>
<Relationships xmlns="http://schemas.openxmlformats.org/package/2006/relationships"><Relationship Id="rId3" Type="http://schemas.openxmlformats.org/officeDocument/2006/relationships/package" Target="../embeddings/Microsoft_Excel_Worksheet503.xlsx"/><Relationship Id="rId2" Type="http://schemas.microsoft.com/office/2011/relationships/chartColorStyle" Target="colors168.xml"/><Relationship Id="rId1" Type="http://schemas.microsoft.com/office/2011/relationships/chartStyle" Target="style168.xml"/></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F505BD-CDDA-4B34-A887-E5101EEF5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174EC8-3F02-4847-9510-8CACD98B2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96AA9E-527E-4F1E-8704-7CD7854B7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EF363B-8BCA-44A2-BC65-7EEE6B087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C99A47-6B2A-44A9-BAB1-E2AD63C49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6CD9856-4CD8-4B8C-B2DE-F948AEA37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B8112C-F711-4C24-8D86-8DA6D7F22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100EF5-57A3-4887-B63E-CE3895499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13380000000001</c:v>
                </c:pt>
                <c:pt idx="1">
                  <c:v>209.15610000000001</c:v>
                </c:pt>
                <c:pt idx="2">
                  <c:v>222.7422</c:v>
                </c:pt>
                <c:pt idx="3">
                  <c:v>577.1653</c:v>
                </c:pt>
                <c:pt idx="4">
                  <c:v>289.72449999999998</c:v>
                </c:pt>
                <c:pt idx="5">
                  <c:v>84.481200000000001</c:v>
                </c:pt>
                <c:pt idx="6">
                  <c:v>506.83350000000002</c:v>
                </c:pt>
                <c:pt idx="7">
                  <c:v>206.30250000000001</c:v>
                </c:pt>
              </c:numCache>
            </c:numRef>
          </c:xVal>
          <c:yVal>
            <c:numRef>
              <c:f>Sheet1!$B$2:$B$9</c:f>
              <c:numCache>
                <c:formatCode>General</c:formatCode>
                <c:ptCount val="8"/>
                <c:pt idx="0">
                  <c:v>1.038</c:v>
                </c:pt>
                <c:pt idx="1">
                  <c:v>0.746</c:v>
                </c:pt>
                <c:pt idx="2">
                  <c:v>0.72599999999999998</c:v>
                </c:pt>
                <c:pt idx="3">
                  <c:v>4.18</c:v>
                </c:pt>
                <c:pt idx="4">
                  <c:v>2.0569999999999999</c:v>
                </c:pt>
                <c:pt idx="5">
                  <c:v>0.41599999999999998</c:v>
                </c:pt>
                <c:pt idx="6">
                  <c:v>6.3529999999999998</c:v>
                </c:pt>
                <c:pt idx="7">
                  <c:v>2.5569999999999999</c:v>
                </c:pt>
              </c:numCache>
            </c:numRef>
          </c:yVal>
          <c:bubbleSize>
            <c:numRef>
              <c:f>Sheet1!$C$2:$C$9</c:f>
              <c:numCache>
                <c:formatCode>General</c:formatCode>
                <c:ptCount val="8"/>
                <c:pt idx="0">
                  <c:v>536202668</c:v>
                </c:pt>
                <c:pt idx="1">
                  <c:v>269083052</c:v>
                </c:pt>
                <c:pt idx="2">
                  <c:v>215531333</c:v>
                </c:pt>
                <c:pt idx="3">
                  <c:v>108131910</c:v>
                </c:pt>
                <c:pt idx="4">
                  <c:v>102115148</c:v>
                </c:pt>
                <c:pt idx="5">
                  <c:v>62392994</c:v>
                </c:pt>
                <c:pt idx="6">
                  <c:v>50910918</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D47DEB6-CEC3-4D25-9697-1CA57CFA0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892A172-09B4-4A21-A29C-8D0D04C90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735C98D-9BA4-4D33-B8E4-216975222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3973F62-B4B2-408B-8CF9-1FDD4BC3D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120FB67-6249-416D-BE5A-7BCD97E02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8DC272E-32D8-4854-A0C5-A0794DE1F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EF4BB50-0C91-4842-A966-86F5D64B6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9054854-0E87-4AA8-A775-5F4026538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5.20179999999999</c:v>
                </c:pt>
                <c:pt idx="1">
                  <c:v>245.2593</c:v>
                </c:pt>
                <c:pt idx="2">
                  <c:v>220.0378</c:v>
                </c:pt>
                <c:pt idx="3">
                  <c:v>252.96879999999999</c:v>
                </c:pt>
                <c:pt idx="4">
                  <c:v>133.73689999999999</c:v>
                </c:pt>
              </c:numCache>
            </c:numRef>
          </c:xVal>
          <c:yVal>
            <c:numRef>
              <c:f>Sheet1!$B$2:$B$6</c:f>
              <c:numCache>
                <c:formatCode>General</c:formatCode>
                <c:ptCount val="5"/>
                <c:pt idx="0">
                  <c:v>1.006</c:v>
                </c:pt>
                <c:pt idx="1">
                  <c:v>1.1060000000000001</c:v>
                </c:pt>
                <c:pt idx="2">
                  <c:v>0.83499999999999996</c:v>
                </c:pt>
                <c:pt idx="3">
                  <c:v>1.095</c:v>
                </c:pt>
                <c:pt idx="4">
                  <c:v>0.83899999999999997</c:v>
                </c:pt>
              </c:numCache>
            </c:numRef>
          </c:yVal>
          <c:bubbleSize>
            <c:numRef>
              <c:f>Sheet1!$C$2:$C$6</c:f>
              <c:numCache>
                <c:formatCode>General</c:formatCode>
                <c:ptCount val="5"/>
                <c:pt idx="0">
                  <c:v>13323472</c:v>
                </c:pt>
                <c:pt idx="1">
                  <c:v>8223055</c:v>
                </c:pt>
                <c:pt idx="2">
                  <c:v>2810543</c:v>
                </c:pt>
                <c:pt idx="3">
                  <c:v>1516295</c:v>
                </c:pt>
                <c:pt idx="4">
                  <c:v>562096</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Australian Gold</c:v>
                  </c:pt>
                  <c:pt idx="4">
                    <c:v>Cerapil</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10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3CA819C-B214-4FD0-B356-423E24C90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9E9CE51-4B61-4EEF-9536-F5792779C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0470272-64C3-46C5-84FA-D41369C74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7E785A9-1569-441B-ABF1-FCE118871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1BD01C2-7086-46EB-AF5A-803488EAF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86F505AC-C388-4EBF-995F-F18BF7DB5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5EFE392-4ED3-4181-AB7A-45CB846CD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1628B41D-927E-4724-A7BB-DEDA98B93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C32C983-D2B4-4938-9DFB-BEB19A202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0E1A884-D8BE-48C3-8E3E-93587D324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7DA6333-E2F5-47F3-86A2-2EBEB99BF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5D881F22-546D-43A3-96C8-39C609CAD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49029207-796A-4B14-AF7D-B413AE507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B9CC01BF-45A8-43D2-A86F-C1772BE91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0EA1E1FF-6A47-468C-AA2B-27E6AF0F7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AF66FE88-D563-4355-8391-5F28AA22F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03CCC1-D70D-49AA-A6FF-AC39B8F3A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86FC04-289D-4A61-8CD7-C8AB0EF4B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CEF2E0-3211-470C-AA7F-E78EDD0C9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082465-6E1C-4B42-AADC-02943A528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71484C-36BF-43EB-8505-59F5113DC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B88794-67A8-4861-B048-CBA3BE8B6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2FF44C-C444-4AC5-86D2-DFE717230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23406B-C0E0-4FD5-92B2-6109A68E6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6C79DC-1CE5-472F-A4D9-E519F0B17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B95102-E76B-4BA4-94CA-DD778699D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2B69A2-472A-4628-BE1D-18A786702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73210F-01A3-4625-99EB-8B1A0D005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50846C-B76F-406D-8048-49A6C2BCB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FC242B-D2D3-4379-A9F6-AB2FD69D2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6C3397-18D0-4DFA-BF26-39878BC6B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EAC8D5-0D0B-4F3E-A71F-95E8D71A5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8854C4A-79A6-46A7-9ABD-64C512709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18123E7-A817-4B07-AC73-4DEF42C0D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1A7B8B4-E17B-4EC8-8701-BD2D135D2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54066AE-AB80-405C-8983-3733F41BE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6E661A8-7C6D-455C-8802-FDB240D1B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A07DB03-D525-41CA-B064-81FF7B0F0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ACCEC29-B258-428F-8BEB-173588C93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79E9E7B-0CB0-4353-A564-18B92F920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E55B9FB-4F38-4D14-A4E3-6BCEC00EF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F8479B5-D994-4B21-B395-4D644CCC2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5F016E3-C6E9-433C-B25D-99D2EC70E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E0FB863-6984-4089-A4F7-483E7E561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8D2133AB-7F26-4EDD-89CE-96BF1C924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57879EF-D2CC-491C-B88A-5EB9D5A2E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0C9BEBF-DF61-4809-B5B5-569E53A30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1252A37D-54F3-4627-8700-DBF7715E5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EE7DA9B-372B-41E8-A5BB-6A00061CB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923982F-885D-4743-9789-BC8B055B6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A68C8AA-21E9-46F2-810A-46281F8C3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03265E0A-1112-4934-A18F-90DE97E0B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0668D1CC-39C0-4889-A91D-DA69B6DFF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1C7E9730-5F2C-4B83-B387-A0B84FCF2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76387AAC-84DD-41BA-A4FA-6C9A87033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50EB7053-D31B-48E4-BBA3-E41F23712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A944DD-2EB0-41A0-A5ED-EF9CED98D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66D12A-F991-4F6D-AC7A-53E2817AF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64FC27-18E8-4C17-A927-CBDE2651C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34BDBE-5684-451E-A9E7-AE0A1CA84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6DA7C9-363F-46F7-995E-21C850C12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35BD9A-B437-4563-9C70-1CBB37C2E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485514-DEE0-4DD3-A3BB-5E1DED868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C79F22-B25A-4092-85A6-32BE5CAF9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EE976D-31E2-46C0-82D6-95EA9040C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9D8AA7-175A-463E-B0C3-A198E22D6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335766-5E15-49CD-88AC-796E81143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DCB217-F69B-4ED8-9882-C69B68E93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A6C61E-D278-42F4-9021-3BC753466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C6DBFF-E0D0-47B7-8215-61526DD0C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4D6B4D-0F7E-4D3C-909C-DDADAE6BE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2DB53D-A660-4045-8D4E-00B67480D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CC31AB5-B368-42C7-93B0-58EF76ACC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709C89B-DF74-46D2-BCAC-D29BB18FD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ADDA8D4-8287-4F01-930A-96C425BDE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BE67FE9-9CEE-4B5B-8924-04C3DDF66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BBDD017-9791-439B-85B9-F920B9950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68FA278-0AE0-43CD-9843-1F6BA0B17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7860A46-8A3D-4010-8D13-3FCF7047F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AD5F1E6-787C-43FA-B1A0-ED08924DC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C60190B-7B2C-4E0C-9F3A-B196352EE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78A575C1-929A-4DDB-AE98-902EF5A79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7C82050-C7C9-4C47-B778-D7B9DA31F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EBBE809-355E-4B44-AB0F-A51E8DE04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05574957-F20A-43C1-9DC9-F3FB19ED2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22E2743C-6FC5-436D-B71D-C6DA71C28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4C41595-391A-454E-A5A9-159DE64C9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F173ABE-A53E-4CD4-8C87-0683C13C6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1.59399999999999</c:v>
                </c:pt>
                <c:pt idx="1">
                  <c:v>133.5788</c:v>
                </c:pt>
                <c:pt idx="2">
                  <c:v>114.9379</c:v>
                </c:pt>
                <c:pt idx="3">
                  <c:v>221.82249999999999</c:v>
                </c:pt>
                <c:pt idx="4">
                  <c:v>53.630499999999998</c:v>
                </c:pt>
              </c:numCache>
            </c:numRef>
          </c:xVal>
          <c:yVal>
            <c:numRef>
              <c:f>Sheet1!$B$2:$B$6</c:f>
              <c:numCache>
                <c:formatCode>General</c:formatCode>
                <c:ptCount val="5"/>
                <c:pt idx="0">
                  <c:v>1.17</c:v>
                </c:pt>
                <c:pt idx="1">
                  <c:v>0.76100000000000001</c:v>
                </c:pt>
                <c:pt idx="2">
                  <c:v>0.997</c:v>
                </c:pt>
                <c:pt idx="3">
                  <c:v>1.778</c:v>
                </c:pt>
                <c:pt idx="4">
                  <c:v>0.39500000000000002</c:v>
                </c:pt>
              </c:numCache>
            </c:numRef>
          </c:yVal>
          <c:bubbleSize>
            <c:numRef>
              <c:f>Sheet1!$C$2:$C$6</c:f>
              <c:numCache>
                <c:formatCode>General</c:formatCode>
                <c:ptCount val="5"/>
                <c:pt idx="0">
                  <c:v>9270165</c:v>
                </c:pt>
                <c:pt idx="1">
                  <c:v>7397860</c:v>
                </c:pt>
                <c:pt idx="2">
                  <c:v>4436603</c:v>
                </c:pt>
                <c:pt idx="3">
                  <c:v>438765</c:v>
                </c:pt>
                <c:pt idx="4">
                  <c:v>284027</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pt idx="4">
                    <c:v>Caribbean Beach</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
          <c:min val="4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70BDAFE-BD38-41BE-9311-DDF8A92EF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81CC715-1324-4B11-8AAB-4EE531133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072432C-2D04-47CD-9A4E-80282EB95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1D35D86-16AD-420D-932C-00C0E2C9D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29C3AAF-D5A8-480F-BE25-BB3085694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AB5CF93-CE53-40E3-8D64-0B45E9D8D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3208CCA-E69F-45A3-ACF8-B5FC964EC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D1E4B3C-4B08-47F3-9044-D0423E8D1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E0B8E337-99E1-466C-9547-E48A36924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E31BD70-A410-4A75-927F-65F7D8255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EF157BD-63E9-41B4-B6FA-EC8D4C820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0C895A0C-E739-40E0-9D6B-BC81E474B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38D9418E-DE73-4CD4-9454-34C13760A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ACB4A1A4-4C4E-4E61-B9CE-A87278759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D4A4275C-97F3-4D30-A85F-4E3F2FC0C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DB2C0A55-6E39-42D6-BE5B-1A92A826D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0BAB0C-F6EE-47B9-BEA1-7ED87246E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5B31E8-C321-47BF-ACBC-F4C2BD5FB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687412-1FC2-4F65-8136-7C50FFDAD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510BFA-86C4-4ED1-BA4D-0AD5967C4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9EE5BB-9E17-499B-BCC5-E7B3CED06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D83DDA-38D2-4C55-8068-DE636C74E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FD5C3F-F1B4-40A8-B5D4-5BB7F44BB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E2145D-F65A-4B54-878B-EAC9BD22E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74D3A5-7C7A-466D-8E85-27C449F2E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ADD6D1-E19C-4276-B044-44DC62122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D2D24C-EE61-479F-8746-6528D6214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5FBB7F-A472-4EDE-BDA5-29FDE4939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1BE0F4-EC7A-47EB-AAA1-0DD07EE1C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5D5A1E-EA7C-4ADF-BA6F-8E3B267D0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8D5133-D0B1-471E-9F8B-9FD3BD13C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84EF0F-5210-42C3-8074-393005715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13380000000001</c:v>
                </c:pt>
                <c:pt idx="1">
                  <c:v>209.15610000000001</c:v>
                </c:pt>
                <c:pt idx="2">
                  <c:v>222.7422</c:v>
                </c:pt>
                <c:pt idx="3">
                  <c:v>577.1653</c:v>
                </c:pt>
                <c:pt idx="4">
                  <c:v>289.72449999999998</c:v>
                </c:pt>
                <c:pt idx="5">
                  <c:v>84.481200000000001</c:v>
                </c:pt>
                <c:pt idx="6">
                  <c:v>506.83350000000002</c:v>
                </c:pt>
                <c:pt idx="7">
                  <c:v>206.30250000000001</c:v>
                </c:pt>
              </c:numCache>
            </c:numRef>
          </c:xVal>
          <c:yVal>
            <c:numRef>
              <c:f>Sheet1!$B$2:$B$9</c:f>
              <c:numCache>
                <c:formatCode>General</c:formatCode>
                <c:ptCount val="8"/>
                <c:pt idx="0">
                  <c:v>1.038</c:v>
                </c:pt>
                <c:pt idx="1">
                  <c:v>0.746</c:v>
                </c:pt>
                <c:pt idx="2">
                  <c:v>0.72599999999999998</c:v>
                </c:pt>
                <c:pt idx="3">
                  <c:v>4.18</c:v>
                </c:pt>
                <c:pt idx="4">
                  <c:v>2.0569999999999999</c:v>
                </c:pt>
                <c:pt idx="5">
                  <c:v>0.41599999999999998</c:v>
                </c:pt>
                <c:pt idx="6">
                  <c:v>6.3529999999999998</c:v>
                </c:pt>
                <c:pt idx="7">
                  <c:v>2.5569999999999999</c:v>
                </c:pt>
              </c:numCache>
            </c:numRef>
          </c:yVal>
          <c:bubbleSize>
            <c:numRef>
              <c:f>Sheet1!$C$2:$C$9</c:f>
              <c:numCache>
                <c:formatCode>General</c:formatCode>
                <c:ptCount val="8"/>
                <c:pt idx="0">
                  <c:v>536202668</c:v>
                </c:pt>
                <c:pt idx="1">
                  <c:v>269083052</c:v>
                </c:pt>
                <c:pt idx="2">
                  <c:v>215531333</c:v>
                </c:pt>
                <c:pt idx="3">
                  <c:v>108131910</c:v>
                </c:pt>
                <c:pt idx="4">
                  <c:v>102115148</c:v>
                </c:pt>
                <c:pt idx="5">
                  <c:v>62392994</c:v>
                </c:pt>
                <c:pt idx="6">
                  <c:v>50910918</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E214D1-879E-4C5A-A0AC-0714E0DD9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FAF7DF-C5C8-4296-9891-0238577A9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24F166-50F2-41C6-AECC-B5F99341A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63681D-F60D-4A41-A174-F9EBB0C4C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C79B3E-2196-4817-8002-6EF7D3FB4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3E583A-839D-4DA1-B763-B70A340D0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E7B1156-C860-4B7F-983A-6C9D5EC14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37D770-CF61-4A18-B39C-83D48E262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2595</c:v>
                </c:pt>
                <c:pt idx="1">
                  <c:v>197.44280000000001</c:v>
                </c:pt>
                <c:pt idx="2">
                  <c:v>215.5523</c:v>
                </c:pt>
                <c:pt idx="3">
                  <c:v>289.48630000000003</c:v>
                </c:pt>
                <c:pt idx="4">
                  <c:v>591.12919999999997</c:v>
                </c:pt>
                <c:pt idx="5">
                  <c:v>84.318799999999996</c:v>
                </c:pt>
                <c:pt idx="6">
                  <c:v>567.71749999999997</c:v>
                </c:pt>
                <c:pt idx="7">
                  <c:v>227.98609999999999</c:v>
                </c:pt>
              </c:numCache>
            </c:numRef>
          </c:xVal>
          <c:yVal>
            <c:numRef>
              <c:f>Sheet1!$B$2:$B$9</c:f>
              <c:numCache>
                <c:formatCode>General</c:formatCode>
                <c:ptCount val="8"/>
                <c:pt idx="0">
                  <c:v>1.0369999999999999</c:v>
                </c:pt>
                <c:pt idx="1">
                  <c:v>0.745</c:v>
                </c:pt>
                <c:pt idx="2">
                  <c:v>0.69</c:v>
                </c:pt>
                <c:pt idx="3">
                  <c:v>2.0459999999999998</c:v>
                </c:pt>
                <c:pt idx="4">
                  <c:v>4.2460000000000004</c:v>
                </c:pt>
                <c:pt idx="5">
                  <c:v>0.40500000000000003</c:v>
                </c:pt>
                <c:pt idx="6">
                  <c:v>4.907</c:v>
                </c:pt>
                <c:pt idx="7">
                  <c:v>2.7189999999999999</c:v>
                </c:pt>
              </c:numCache>
            </c:numRef>
          </c:yVal>
          <c:bubbleSize>
            <c:numRef>
              <c:f>Sheet1!$C$2:$C$9</c:f>
              <c:numCache>
                <c:formatCode>General</c:formatCode>
                <c:ptCount val="8"/>
                <c:pt idx="0">
                  <c:v>113249134</c:v>
                </c:pt>
                <c:pt idx="1">
                  <c:v>58289864</c:v>
                </c:pt>
                <c:pt idx="2">
                  <c:v>41961776</c:v>
                </c:pt>
                <c:pt idx="3">
                  <c:v>28274994</c:v>
                </c:pt>
                <c:pt idx="4">
                  <c:v>25478849</c:v>
                </c:pt>
                <c:pt idx="5">
                  <c:v>13081218</c:v>
                </c:pt>
                <c:pt idx="6">
                  <c:v>9442278</c:v>
                </c:pt>
                <c:pt idx="7">
                  <c:v>30176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3D94F7-BFD7-46C9-AA1E-AC87EA2FF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1341D5-5020-4EAE-88CC-D0C687E7D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D50D1B-FF82-45A4-8444-0B5BFCB68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6C4AFE-633D-4B17-950A-8D5F52267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265C07-FDFD-4C8B-BE68-38643F48E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AE7A2D-FCAC-429B-BD85-BBD6B7F28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4E1C7B-3484-4AD0-A6A0-E53CD051E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19E422-5503-4749-BAE7-03F8F0BFD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697</c:v>
                </c:pt>
                <c:pt idx="1">
                  <c:v>552.87279999999998</c:v>
                </c:pt>
                <c:pt idx="2">
                  <c:v>195.15170000000001</c:v>
                </c:pt>
                <c:pt idx="3">
                  <c:v>200.31549999999999</c:v>
                </c:pt>
                <c:pt idx="4">
                  <c:v>467.46899999999999</c:v>
                </c:pt>
                <c:pt idx="5">
                  <c:v>291.7559</c:v>
                </c:pt>
                <c:pt idx="6">
                  <c:v>553.74220000000003</c:v>
                </c:pt>
                <c:pt idx="7">
                  <c:v>220.01349999999999</c:v>
                </c:pt>
              </c:numCache>
            </c:numRef>
          </c:xVal>
          <c:yVal>
            <c:numRef>
              <c:f>Sheet1!$B$2:$B$9</c:f>
              <c:numCache>
                <c:formatCode>General</c:formatCode>
                <c:ptCount val="8"/>
                <c:pt idx="0">
                  <c:v>0.88400000000000001</c:v>
                </c:pt>
                <c:pt idx="1">
                  <c:v>3.3940000000000001</c:v>
                </c:pt>
                <c:pt idx="2">
                  <c:v>0.58299999999999996</c:v>
                </c:pt>
                <c:pt idx="3">
                  <c:v>0.56999999999999995</c:v>
                </c:pt>
                <c:pt idx="4">
                  <c:v>4.6130000000000004</c:v>
                </c:pt>
                <c:pt idx="5">
                  <c:v>1.6870000000000001</c:v>
                </c:pt>
                <c:pt idx="6">
                  <c:v>3.766</c:v>
                </c:pt>
                <c:pt idx="7">
                  <c:v>2.17</c:v>
                </c:pt>
              </c:numCache>
            </c:numRef>
          </c:yVal>
          <c:bubbleSize>
            <c:numRef>
              <c:f>Sheet1!$C$2:$C$9</c:f>
              <c:numCache>
                <c:formatCode>General</c:formatCode>
                <c:ptCount val="8"/>
                <c:pt idx="0">
                  <c:v>77861555</c:v>
                </c:pt>
                <c:pt idx="1">
                  <c:v>38563986</c:v>
                </c:pt>
                <c:pt idx="2">
                  <c:v>34244636</c:v>
                </c:pt>
                <c:pt idx="3">
                  <c:v>32745172</c:v>
                </c:pt>
                <c:pt idx="4">
                  <c:v>25602342</c:v>
                </c:pt>
                <c:pt idx="5">
                  <c:v>19448156</c:v>
                </c:pt>
                <c:pt idx="6">
                  <c:v>14026291</c:v>
                </c:pt>
                <c:pt idx="7">
                  <c:v>191719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Banana Boat</c:v>
                  </c:pt>
                  <c:pt idx="4">
                    <c:v>La Roche-Posay</c:v>
                  </c:pt>
                  <c:pt idx="5">
                    <c:v>Neutrogena</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4"/>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CB0C65-0AB4-481A-BBC4-9952A86D8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BD82D7-B089-416E-BF55-9772FEF00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FEEAFC-8083-4099-BE04-5907417A5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D5A3AB-144F-49DB-A26D-E68328A16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C5250C-8859-40F9-9A61-38F702727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B7D701-964B-449B-B740-911C2A2ED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FD45D3-2081-4048-AB4B-F2FBF9CDE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F4E5B7-D130-4317-925A-68EB8B48E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6053</c:v>
                </c:pt>
                <c:pt idx="1">
                  <c:v>218.04519999999999</c:v>
                </c:pt>
                <c:pt idx="2">
                  <c:v>224.18709999999999</c:v>
                </c:pt>
                <c:pt idx="3">
                  <c:v>280.37139999999999</c:v>
                </c:pt>
                <c:pt idx="4">
                  <c:v>86.580500000000001</c:v>
                </c:pt>
                <c:pt idx="5">
                  <c:v>605.09690000000001</c:v>
                </c:pt>
                <c:pt idx="6">
                  <c:v>291.0607</c:v>
                </c:pt>
                <c:pt idx="7">
                  <c:v>156.0933</c:v>
                </c:pt>
              </c:numCache>
            </c:numRef>
          </c:xVal>
          <c:yVal>
            <c:numRef>
              <c:f>Sheet1!$B$2:$B$9</c:f>
              <c:numCache>
                <c:formatCode>General</c:formatCode>
                <c:ptCount val="8"/>
                <c:pt idx="0">
                  <c:v>1.147</c:v>
                </c:pt>
                <c:pt idx="1">
                  <c:v>0.84499999999999997</c:v>
                </c:pt>
                <c:pt idx="2">
                  <c:v>0.84899999999999998</c:v>
                </c:pt>
                <c:pt idx="3">
                  <c:v>2.1760000000000002</c:v>
                </c:pt>
                <c:pt idx="4">
                  <c:v>0.47899999999999998</c:v>
                </c:pt>
                <c:pt idx="5">
                  <c:v>5.1710000000000003</c:v>
                </c:pt>
                <c:pt idx="6">
                  <c:v>1.1240000000000001</c:v>
                </c:pt>
                <c:pt idx="7">
                  <c:v>2.34</c:v>
                </c:pt>
              </c:numCache>
            </c:numRef>
          </c:yVal>
          <c:bubbleSize>
            <c:numRef>
              <c:f>Sheet1!$C$2:$C$9</c:f>
              <c:numCache>
                <c:formatCode>General</c:formatCode>
                <c:ptCount val="8"/>
                <c:pt idx="0">
                  <c:v>110924561</c:v>
                </c:pt>
                <c:pt idx="1">
                  <c:v>51770699</c:v>
                </c:pt>
                <c:pt idx="2">
                  <c:v>35419541</c:v>
                </c:pt>
                <c:pt idx="3">
                  <c:v>13224280</c:v>
                </c:pt>
                <c:pt idx="4">
                  <c:v>10297880</c:v>
                </c:pt>
                <c:pt idx="5">
                  <c:v>3786091</c:v>
                </c:pt>
                <c:pt idx="6">
                  <c:v>3723830</c:v>
                </c:pt>
                <c:pt idx="7">
                  <c:v>223447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Caribbean Beach</c:v>
                  </c:pt>
                  <c:pt idx="5">
                    <c:v>Isdin</c:v>
                  </c:pt>
                  <c:pt idx="6">
                    <c:v>Australian Gold</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6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E26105-16FC-46F7-B1C9-80C3CC5AF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A5AFDD-A6BB-49AF-9E1F-7A15CE5D7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19ECFC-45D8-4CC8-928F-CD60E028D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40C4BD-5625-479B-B717-3A1814C87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6DFD86-68B5-4157-BA3B-C339937EF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385FEE-7982-4C09-98DE-F354D2207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4F3F14-414A-49C9-BD27-E13A107D8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698B28-BCDA-4A43-9D6D-F523B04E0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75550000000001</c:v>
                </c:pt>
                <c:pt idx="1">
                  <c:v>211.72900000000001</c:v>
                </c:pt>
                <c:pt idx="2">
                  <c:v>223.8245</c:v>
                </c:pt>
                <c:pt idx="3">
                  <c:v>590.55079999999998</c:v>
                </c:pt>
                <c:pt idx="4">
                  <c:v>288.5933</c:v>
                </c:pt>
                <c:pt idx="5">
                  <c:v>84.691199999999995</c:v>
                </c:pt>
                <c:pt idx="6">
                  <c:v>585.46230000000003</c:v>
                </c:pt>
                <c:pt idx="7">
                  <c:v>214.86019999999999</c:v>
                </c:pt>
              </c:numCache>
            </c:numRef>
          </c:xVal>
          <c:yVal>
            <c:numRef>
              <c:f>Sheet1!$B$2:$B$9</c:f>
              <c:numCache>
                <c:formatCode>General</c:formatCode>
                <c:ptCount val="8"/>
                <c:pt idx="0">
                  <c:v>1.0489999999999999</c:v>
                </c:pt>
                <c:pt idx="1">
                  <c:v>0.75700000000000001</c:v>
                </c:pt>
                <c:pt idx="2">
                  <c:v>0.72199999999999998</c:v>
                </c:pt>
                <c:pt idx="3">
                  <c:v>4.0620000000000003</c:v>
                </c:pt>
                <c:pt idx="4">
                  <c:v>2.0569999999999999</c:v>
                </c:pt>
                <c:pt idx="5">
                  <c:v>0.44400000000000001</c:v>
                </c:pt>
                <c:pt idx="6">
                  <c:v>5.1210000000000004</c:v>
                </c:pt>
                <c:pt idx="7">
                  <c:v>2.746</c:v>
                </c:pt>
              </c:numCache>
            </c:numRef>
          </c:yVal>
          <c:bubbleSize>
            <c:numRef>
              <c:f>Sheet1!$C$2:$C$9</c:f>
              <c:numCache>
                <c:formatCode>General</c:formatCode>
                <c:ptCount val="8"/>
                <c:pt idx="0">
                  <c:v>90276351</c:v>
                </c:pt>
                <c:pt idx="1">
                  <c:v>42299860</c:v>
                </c:pt>
                <c:pt idx="2">
                  <c:v>32509165</c:v>
                </c:pt>
                <c:pt idx="3">
                  <c:v>17830499</c:v>
                </c:pt>
                <c:pt idx="4">
                  <c:v>16300038</c:v>
                </c:pt>
                <c:pt idx="5">
                  <c:v>12513725</c:v>
                </c:pt>
                <c:pt idx="6">
                  <c:v>7144396</c:v>
                </c:pt>
                <c:pt idx="7">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02FBA4-BDF6-4996-A938-E84521631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20164C-3E0E-46E9-A0ED-03B85A439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1B78C7-C79E-441C-B3ED-A939AAFB5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B87C8A-84C4-4445-902A-94B74150B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7D4740-118D-4179-989A-882B4F160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0D1C58-4F7C-432F-82F0-09A5951A4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BF3BDB-DC66-43B3-A22B-0E16073AE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013BDF-DEA8-4D0D-9FB4-DFC899A08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00409999999999</c:v>
                </c:pt>
                <c:pt idx="1">
                  <c:v>217.155</c:v>
                </c:pt>
                <c:pt idx="2">
                  <c:v>236.11</c:v>
                </c:pt>
                <c:pt idx="3">
                  <c:v>587.34699999999998</c:v>
                </c:pt>
                <c:pt idx="4">
                  <c:v>294.1069</c:v>
                </c:pt>
                <c:pt idx="5">
                  <c:v>85.754199999999997</c:v>
                </c:pt>
                <c:pt idx="6">
                  <c:v>531.87360000000001</c:v>
                </c:pt>
                <c:pt idx="7">
                  <c:v>221.1781</c:v>
                </c:pt>
              </c:numCache>
            </c:numRef>
          </c:xVal>
          <c:yVal>
            <c:numRef>
              <c:f>Sheet1!$B$2:$B$9</c:f>
              <c:numCache>
                <c:formatCode>General</c:formatCode>
                <c:ptCount val="8"/>
                <c:pt idx="0">
                  <c:v>1.0669999999999999</c:v>
                </c:pt>
                <c:pt idx="1">
                  <c:v>0.78100000000000003</c:v>
                </c:pt>
                <c:pt idx="2">
                  <c:v>0.76300000000000001</c:v>
                </c:pt>
                <c:pt idx="3">
                  <c:v>4.016</c:v>
                </c:pt>
                <c:pt idx="4">
                  <c:v>2.214</c:v>
                </c:pt>
                <c:pt idx="5">
                  <c:v>0.42199999999999999</c:v>
                </c:pt>
                <c:pt idx="6">
                  <c:v>6.5830000000000002</c:v>
                </c:pt>
                <c:pt idx="7">
                  <c:v>2.7909999999999999</c:v>
                </c:pt>
              </c:numCache>
            </c:numRef>
          </c:yVal>
          <c:bubbleSize>
            <c:numRef>
              <c:f>Sheet1!$C$2:$C$9</c:f>
              <c:numCache>
                <c:formatCode>General</c:formatCode>
                <c:ptCount val="8"/>
                <c:pt idx="0">
                  <c:v>73169020</c:v>
                </c:pt>
                <c:pt idx="1">
                  <c:v>47917858</c:v>
                </c:pt>
                <c:pt idx="2">
                  <c:v>41380400</c:v>
                </c:pt>
                <c:pt idx="3">
                  <c:v>16648350</c:v>
                </c:pt>
                <c:pt idx="4">
                  <c:v>15534431</c:v>
                </c:pt>
                <c:pt idx="5">
                  <c:v>11401966</c:v>
                </c:pt>
                <c:pt idx="6">
                  <c:v>7256352</c:v>
                </c:pt>
                <c:pt idx="7">
                  <c:v>195145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6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096E6E-51A8-4355-9235-A4BA1706F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9D23E2-AB9E-4281-AAE5-0B4B4CE4C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AD7E8B-B442-42FA-8713-B63D25145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4BDDC3-54E2-45E5-A782-B4F1CADAA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225AAC-1415-4D88-B077-858DB820D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A260AD-44DA-4571-90BB-AA77DC2BB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48E8BD-10FB-4E64-8E0C-E931DF744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DF6A71-AA03-402A-9827-9F2CD5A92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4718</c:v>
                </c:pt>
                <c:pt idx="1">
                  <c:v>218.8167</c:v>
                </c:pt>
                <c:pt idx="2">
                  <c:v>240.5857</c:v>
                </c:pt>
                <c:pt idx="3">
                  <c:v>294.82420000000002</c:v>
                </c:pt>
                <c:pt idx="4">
                  <c:v>600.36440000000005</c:v>
                </c:pt>
                <c:pt idx="5">
                  <c:v>80.753900000000002</c:v>
                </c:pt>
                <c:pt idx="6">
                  <c:v>556.37180000000001</c:v>
                </c:pt>
                <c:pt idx="7">
                  <c:v>222.31460000000001</c:v>
                </c:pt>
              </c:numCache>
            </c:numRef>
          </c:xVal>
          <c:yVal>
            <c:numRef>
              <c:f>Sheet1!$B$2:$B$9</c:f>
              <c:numCache>
                <c:formatCode>General</c:formatCode>
                <c:ptCount val="8"/>
                <c:pt idx="0">
                  <c:v>1.101</c:v>
                </c:pt>
                <c:pt idx="1">
                  <c:v>0.80100000000000005</c:v>
                </c:pt>
                <c:pt idx="2">
                  <c:v>0.80400000000000005</c:v>
                </c:pt>
                <c:pt idx="3">
                  <c:v>2.2069999999999999</c:v>
                </c:pt>
                <c:pt idx="4">
                  <c:v>4.5579999999999998</c:v>
                </c:pt>
                <c:pt idx="5">
                  <c:v>0.434</c:v>
                </c:pt>
                <c:pt idx="6">
                  <c:v>8.0820000000000007</c:v>
                </c:pt>
                <c:pt idx="7">
                  <c:v>2.8439999999999999</c:v>
                </c:pt>
              </c:numCache>
            </c:numRef>
          </c:yVal>
          <c:bubbleSize>
            <c:numRef>
              <c:f>Sheet1!$C$2:$C$9</c:f>
              <c:numCache>
                <c:formatCode>General</c:formatCode>
                <c:ptCount val="8"/>
                <c:pt idx="0">
                  <c:v>70722047</c:v>
                </c:pt>
                <c:pt idx="1">
                  <c:v>34560135</c:v>
                </c:pt>
                <c:pt idx="2">
                  <c:v>31515279</c:v>
                </c:pt>
                <c:pt idx="3">
                  <c:v>9333249</c:v>
                </c:pt>
                <c:pt idx="4">
                  <c:v>5824135</c:v>
                </c:pt>
                <c:pt idx="5">
                  <c:v>5525749</c:v>
                </c:pt>
                <c:pt idx="6">
                  <c:v>3208596</c:v>
                </c:pt>
                <c:pt idx="7">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AD54E1-55D2-4158-AF25-2CD3DA3F5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79DC4D-4908-4806-A7EF-F60F1F562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7E8931-C2A9-4C31-8ABA-603D71FBC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622DE1-A0A6-43DD-88FE-E52BFE4F8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AFA6CA-3BF5-4B8C-AD21-093B2DA0E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5F9A12-9852-41DE-81AF-82BB2515E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0BB750-0FBB-493D-87ED-1412EF281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72ED044-1FD8-4697-B761-C605132BF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715</c:v>
                </c:pt>
                <c:pt idx="1">
                  <c:v>196.10319999999999</c:v>
                </c:pt>
                <c:pt idx="2">
                  <c:v>221.018</c:v>
                </c:pt>
                <c:pt idx="3">
                  <c:v>291.04020000000003</c:v>
                </c:pt>
                <c:pt idx="4">
                  <c:v>591.12919999999997</c:v>
                </c:pt>
                <c:pt idx="5">
                  <c:v>84.543899999999994</c:v>
                </c:pt>
                <c:pt idx="6">
                  <c:v>569.41700000000003</c:v>
                </c:pt>
                <c:pt idx="7">
                  <c:v>227.98609999999999</c:v>
                </c:pt>
              </c:numCache>
            </c:numRef>
          </c:xVal>
          <c:yVal>
            <c:numRef>
              <c:f>Sheet1!$B$2:$B$9</c:f>
              <c:numCache>
                <c:formatCode>General</c:formatCode>
                <c:ptCount val="8"/>
                <c:pt idx="0">
                  <c:v>1.0229999999999999</c:v>
                </c:pt>
                <c:pt idx="1">
                  <c:v>0.73799999999999999</c:v>
                </c:pt>
                <c:pt idx="2">
                  <c:v>0.71799999999999997</c:v>
                </c:pt>
                <c:pt idx="3">
                  <c:v>1.9770000000000001</c:v>
                </c:pt>
                <c:pt idx="4">
                  <c:v>4.1139999999999999</c:v>
                </c:pt>
                <c:pt idx="5">
                  <c:v>0.39600000000000002</c:v>
                </c:pt>
                <c:pt idx="6">
                  <c:v>4.7729999999999997</c:v>
                </c:pt>
                <c:pt idx="7">
                  <c:v>2.6339999999999999</c:v>
                </c:pt>
              </c:numCache>
            </c:numRef>
          </c:yVal>
          <c:bubbleSize>
            <c:numRef>
              <c:f>Sheet1!$C$2:$C$9</c:f>
              <c:numCache>
                <c:formatCode>General</c:formatCode>
                <c:ptCount val="8"/>
                <c:pt idx="0">
                  <c:v>111274571</c:v>
                </c:pt>
                <c:pt idx="1">
                  <c:v>54283907</c:v>
                </c:pt>
                <c:pt idx="2">
                  <c:v>39712741</c:v>
                </c:pt>
                <c:pt idx="3">
                  <c:v>28036189</c:v>
                </c:pt>
                <c:pt idx="4">
                  <c:v>25478849</c:v>
                </c:pt>
                <c:pt idx="5">
                  <c:v>13021033</c:v>
                </c:pt>
                <c:pt idx="6">
                  <c:v>9237082</c:v>
                </c:pt>
                <c:pt idx="7">
                  <c:v>30176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9A3A5E-37C7-414E-9D3F-86FB64AB0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C241C4-3A56-4D41-98FE-02CC815DE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51CC1A-FFE4-4DBD-A274-2015A35F1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735438-C8F3-47A8-934D-CB0314CB8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EA9646-C044-42CD-8F8F-78E1CE134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891547C-A44E-496E-B73A-22290C79A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45CEF7-E300-48EC-A38B-1940C559A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89C27C-CE17-4665-8775-B1B1E23C4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31460000000001</c:v>
                </c:pt>
                <c:pt idx="1">
                  <c:v>209.0821</c:v>
                </c:pt>
                <c:pt idx="2">
                  <c:v>228.26419999999999</c:v>
                </c:pt>
                <c:pt idx="3">
                  <c:v>577.1653</c:v>
                </c:pt>
                <c:pt idx="4">
                  <c:v>291.35789999999997</c:v>
                </c:pt>
                <c:pt idx="5">
                  <c:v>84.787800000000004</c:v>
                </c:pt>
                <c:pt idx="6">
                  <c:v>563.72080000000005</c:v>
                </c:pt>
                <c:pt idx="7">
                  <c:v>206.30250000000001</c:v>
                </c:pt>
              </c:numCache>
            </c:numRef>
          </c:xVal>
          <c:yVal>
            <c:numRef>
              <c:f>Sheet1!$B$2:$B$9</c:f>
              <c:numCache>
                <c:formatCode>General</c:formatCode>
                <c:ptCount val="8"/>
                <c:pt idx="0">
                  <c:v>1.03</c:v>
                </c:pt>
                <c:pt idx="1">
                  <c:v>0.748</c:v>
                </c:pt>
                <c:pt idx="2">
                  <c:v>0.751</c:v>
                </c:pt>
                <c:pt idx="3">
                  <c:v>4.0640000000000001</c:v>
                </c:pt>
                <c:pt idx="4">
                  <c:v>1.9950000000000001</c:v>
                </c:pt>
                <c:pt idx="5">
                  <c:v>0.40899999999999997</c:v>
                </c:pt>
                <c:pt idx="6">
                  <c:v>6.1130000000000004</c:v>
                </c:pt>
                <c:pt idx="7">
                  <c:v>2.4860000000000002</c:v>
                </c:pt>
              </c:numCache>
            </c:numRef>
          </c:yVal>
          <c:bubbleSize>
            <c:numRef>
              <c:f>Sheet1!$C$2:$C$9</c:f>
              <c:numCache>
                <c:formatCode>General</c:formatCode>
                <c:ptCount val="8"/>
                <c:pt idx="0">
                  <c:v>523432960</c:v>
                </c:pt>
                <c:pt idx="1">
                  <c:v>246489415</c:v>
                </c:pt>
                <c:pt idx="2">
                  <c:v>205279552</c:v>
                </c:pt>
                <c:pt idx="3">
                  <c:v>108131910</c:v>
                </c:pt>
                <c:pt idx="4">
                  <c:v>101346207</c:v>
                </c:pt>
                <c:pt idx="5">
                  <c:v>61992752</c:v>
                </c:pt>
                <c:pt idx="6">
                  <c:v>44526055</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C43FF4-8789-4F3E-8BCA-96DCF7FF3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61AD15-A1BD-4771-B899-BD084B35C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10FDCA-1A13-4D49-9DAA-E09CA8D7A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F3D385-67E9-4BCB-A46C-3ED43A853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67D9A1-9F6C-48F9-8954-6B5B8FF4D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B5C734-0ADE-4501-9655-96F67C2C9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D98C41-7232-4AB4-8117-F948F61E1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574A45-73F9-4B93-896F-28DDA841E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89710000000002</c:v>
                </c:pt>
                <c:pt idx="1">
                  <c:v>455.8596</c:v>
                </c:pt>
                <c:pt idx="2">
                  <c:v>304.61450000000002</c:v>
                </c:pt>
                <c:pt idx="3">
                  <c:v>427.7079</c:v>
                </c:pt>
                <c:pt idx="4">
                  <c:v>503.90859999999998</c:v>
                </c:pt>
                <c:pt idx="5">
                  <c:v>166.61779999999999</c:v>
                </c:pt>
                <c:pt idx="6">
                  <c:v>295.6549</c:v>
                </c:pt>
                <c:pt idx="7">
                  <c:v>262.89699999999999</c:v>
                </c:pt>
              </c:numCache>
            </c:numRef>
          </c:xVal>
          <c:yVal>
            <c:numRef>
              <c:f>Sheet1!$B$2:$B$9</c:f>
              <c:numCache>
                <c:formatCode>General</c:formatCode>
                <c:ptCount val="8"/>
                <c:pt idx="0">
                  <c:v>2.2189999999999999</c:v>
                </c:pt>
                <c:pt idx="1">
                  <c:v>1.8</c:v>
                </c:pt>
                <c:pt idx="2">
                  <c:v>0.74399999999999999</c:v>
                </c:pt>
                <c:pt idx="3">
                  <c:v>1.121</c:v>
                </c:pt>
                <c:pt idx="4">
                  <c:v>0.54100000000000004</c:v>
                </c:pt>
                <c:pt idx="5">
                  <c:v>0.999</c:v>
                </c:pt>
                <c:pt idx="6">
                  <c:v>2.3410000000000002</c:v>
                </c:pt>
                <c:pt idx="7">
                  <c:v>0.16500000000000001</c:v>
                </c:pt>
              </c:numCache>
            </c:numRef>
          </c:yVal>
          <c:bubbleSize>
            <c:numRef>
              <c:f>Sheet1!$C$2:$C$9</c:f>
              <c:numCache>
                <c:formatCode>General</c:formatCode>
                <c:ptCount val="8"/>
                <c:pt idx="0">
                  <c:v>6292251</c:v>
                </c:pt>
                <c:pt idx="1">
                  <c:v>4300124</c:v>
                </c:pt>
                <c:pt idx="2">
                  <c:v>2476516</c:v>
                </c:pt>
                <c:pt idx="3">
                  <c:v>2076094</c:v>
                </c:pt>
                <c:pt idx="4">
                  <c:v>1069294</c:v>
                </c:pt>
                <c:pt idx="5">
                  <c:v>768941</c:v>
                </c:pt>
                <c:pt idx="6">
                  <c:v>709276</c:v>
                </c:pt>
                <c:pt idx="7">
                  <c:v>43378</c:v>
                </c:pt>
              </c:numCache>
            </c:numRef>
          </c:bubbleSize>
          <c:bubble3D val="0"/>
          <c:extLst>
            <c:ext xmlns:c15="http://schemas.microsoft.com/office/drawing/2012/chart" uri="{02D57815-91ED-43cb-92C2-25804820EDAC}">
              <c15:datalabelsRange>
                <c15:f>Sheet1!$E$2:$E$10</c15:f>
                <c15:dlblRangeCache>
                  <c:ptCount val="9"/>
                  <c:pt idx="0">
                    <c:v>La Roche-Posay</c:v>
                  </c:pt>
                  <c:pt idx="1">
                    <c:v>Avene</c:v>
                  </c:pt>
                  <c:pt idx="2">
                    <c:v>Vichy</c:v>
                  </c:pt>
                  <c:pt idx="3">
                    <c:v>Eucerin</c:v>
                  </c:pt>
                  <c:pt idx="4">
                    <c:v>Eclipsol</c:v>
                  </c:pt>
                  <c:pt idx="5">
                    <c:v>Neutrogena</c:v>
                  </c:pt>
                  <c:pt idx="6">
                    <c:v>Photoderm</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5"/>
          <c:min val="13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2FA8E0-5D9F-40E2-BF2B-D1C2323A6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90F36E-55EC-4240-88BC-6880F9604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A38904-8A40-4856-B908-AE346EEB8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E5063D-FB1D-4373-A8A2-68E4FBC7D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477E64-AF5A-430B-B81D-176AD5C28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E79C9CE-12A8-4178-880F-D6E941383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5DD8189-E97D-47B7-BDAA-5FD53D5DC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FE6C32-F91B-449C-ADD4-D3B2B1E15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5.20179999999999</c:v>
                </c:pt>
                <c:pt idx="1">
                  <c:v>245.2593</c:v>
                </c:pt>
                <c:pt idx="2">
                  <c:v>220.0378</c:v>
                </c:pt>
                <c:pt idx="3">
                  <c:v>252.96879999999999</c:v>
                </c:pt>
                <c:pt idx="4">
                  <c:v>133.73689999999999</c:v>
                </c:pt>
              </c:numCache>
            </c:numRef>
          </c:xVal>
          <c:yVal>
            <c:numRef>
              <c:f>Sheet1!$B$2:$B$6</c:f>
              <c:numCache>
                <c:formatCode>General</c:formatCode>
                <c:ptCount val="5"/>
                <c:pt idx="0">
                  <c:v>1.006</c:v>
                </c:pt>
                <c:pt idx="1">
                  <c:v>1.1060000000000001</c:v>
                </c:pt>
                <c:pt idx="2">
                  <c:v>0.83499999999999996</c:v>
                </c:pt>
                <c:pt idx="3">
                  <c:v>1.095</c:v>
                </c:pt>
                <c:pt idx="4">
                  <c:v>0.83899999999999997</c:v>
                </c:pt>
              </c:numCache>
            </c:numRef>
          </c:yVal>
          <c:bubbleSize>
            <c:numRef>
              <c:f>Sheet1!$C$2:$C$6</c:f>
              <c:numCache>
                <c:formatCode>General</c:formatCode>
                <c:ptCount val="5"/>
                <c:pt idx="0">
                  <c:v>13323472</c:v>
                </c:pt>
                <c:pt idx="1">
                  <c:v>8223055</c:v>
                </c:pt>
                <c:pt idx="2">
                  <c:v>2810543</c:v>
                </c:pt>
                <c:pt idx="3">
                  <c:v>1516295</c:v>
                </c:pt>
                <c:pt idx="4">
                  <c:v>562096</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Australian Gold</c:v>
                  </c:pt>
                  <c:pt idx="4">
                    <c:v>Cerap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1B7721-40DB-40C1-BDD7-BA889FE66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41E507-27A2-40A4-9EDA-3B681D937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8B74A8-63B8-4A52-8C80-BEEE18AA7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AC6A55-E530-41F5-9DB2-480F1E8F4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3D4D9C-2EA1-42AF-8E98-347EBD090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C005378-9853-4127-AF71-58C13D511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1C6F59-630E-42CD-8222-F28DFF718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88F2DD-1A50-437C-A809-83C7D4F98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1.59399999999999</c:v>
                </c:pt>
                <c:pt idx="1">
                  <c:v>133.5788</c:v>
                </c:pt>
                <c:pt idx="2">
                  <c:v>114.9379</c:v>
                </c:pt>
                <c:pt idx="3">
                  <c:v>221.82249999999999</c:v>
                </c:pt>
                <c:pt idx="4">
                  <c:v>53.630499999999998</c:v>
                </c:pt>
              </c:numCache>
            </c:numRef>
          </c:xVal>
          <c:yVal>
            <c:numRef>
              <c:f>Sheet1!$B$2:$B$6</c:f>
              <c:numCache>
                <c:formatCode>General</c:formatCode>
                <c:ptCount val="5"/>
                <c:pt idx="0">
                  <c:v>1.17</c:v>
                </c:pt>
                <c:pt idx="1">
                  <c:v>0.76100000000000001</c:v>
                </c:pt>
                <c:pt idx="2">
                  <c:v>0.997</c:v>
                </c:pt>
                <c:pt idx="3">
                  <c:v>1.778</c:v>
                </c:pt>
                <c:pt idx="4">
                  <c:v>0.39500000000000002</c:v>
                </c:pt>
              </c:numCache>
            </c:numRef>
          </c:yVal>
          <c:bubbleSize>
            <c:numRef>
              <c:f>Sheet1!$C$2:$C$6</c:f>
              <c:numCache>
                <c:formatCode>General</c:formatCode>
                <c:ptCount val="5"/>
                <c:pt idx="0">
                  <c:v>9270165</c:v>
                </c:pt>
                <c:pt idx="1">
                  <c:v>7397860</c:v>
                </c:pt>
                <c:pt idx="2">
                  <c:v>4436603</c:v>
                </c:pt>
                <c:pt idx="3">
                  <c:v>438765</c:v>
                </c:pt>
                <c:pt idx="4">
                  <c:v>284027</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pt idx="4">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
          <c:min val="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34A2B8-66E6-4C0F-8F08-7C2C9F219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D86021-48F3-4DEE-B1D3-17FED017F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EF7AF2-7394-4A03-A16A-209B3AC17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F15516-F5B6-4FE3-8E1D-8B7F59226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7D67E4-274C-441B-A678-D6930689A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905C14-135A-4D8D-818D-9909E2107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989907-7F56-4B88-A478-1C1747164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1A32A8-AD96-40CD-B301-96E8BD40B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715</c:v>
                </c:pt>
                <c:pt idx="1">
                  <c:v>196.10319999999999</c:v>
                </c:pt>
                <c:pt idx="2">
                  <c:v>221.018</c:v>
                </c:pt>
                <c:pt idx="3">
                  <c:v>291.04020000000003</c:v>
                </c:pt>
                <c:pt idx="4">
                  <c:v>591.12919999999997</c:v>
                </c:pt>
                <c:pt idx="5">
                  <c:v>84.543899999999994</c:v>
                </c:pt>
                <c:pt idx="6">
                  <c:v>569.41700000000003</c:v>
                </c:pt>
                <c:pt idx="7">
                  <c:v>227.98609999999999</c:v>
                </c:pt>
              </c:numCache>
            </c:numRef>
          </c:xVal>
          <c:yVal>
            <c:numRef>
              <c:f>Sheet1!$B$2:$B$9</c:f>
              <c:numCache>
                <c:formatCode>General</c:formatCode>
                <c:ptCount val="8"/>
                <c:pt idx="0">
                  <c:v>1.0229999999999999</c:v>
                </c:pt>
                <c:pt idx="1">
                  <c:v>0.73799999999999999</c:v>
                </c:pt>
                <c:pt idx="2">
                  <c:v>0.71799999999999997</c:v>
                </c:pt>
                <c:pt idx="3">
                  <c:v>1.9770000000000001</c:v>
                </c:pt>
                <c:pt idx="4">
                  <c:v>4.1139999999999999</c:v>
                </c:pt>
                <c:pt idx="5">
                  <c:v>0.39600000000000002</c:v>
                </c:pt>
                <c:pt idx="6">
                  <c:v>4.7729999999999997</c:v>
                </c:pt>
                <c:pt idx="7">
                  <c:v>2.6339999999999999</c:v>
                </c:pt>
              </c:numCache>
            </c:numRef>
          </c:yVal>
          <c:bubbleSize>
            <c:numRef>
              <c:f>Sheet1!$C$2:$C$9</c:f>
              <c:numCache>
                <c:formatCode>General</c:formatCode>
                <c:ptCount val="8"/>
                <c:pt idx="0">
                  <c:v>111274571</c:v>
                </c:pt>
                <c:pt idx="1">
                  <c:v>54283907</c:v>
                </c:pt>
                <c:pt idx="2">
                  <c:v>39712741</c:v>
                </c:pt>
                <c:pt idx="3">
                  <c:v>28036189</c:v>
                </c:pt>
                <c:pt idx="4">
                  <c:v>25478849</c:v>
                </c:pt>
                <c:pt idx="5">
                  <c:v>13021033</c:v>
                </c:pt>
                <c:pt idx="6">
                  <c:v>9237082</c:v>
                </c:pt>
                <c:pt idx="7">
                  <c:v>30176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576AB4-F2F9-4196-8EAF-28F16E092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EEE271-5665-4E32-991D-BF14490E9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09DED3-3A2D-4D28-9F5D-B47F03CBA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CDA892-5394-4055-BF74-95E139B30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29847C-91EF-4471-9AAE-A39CDFE39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ECD872-1BCB-4EA9-B5DC-1F62B8B8D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7AB9CF-8D1B-46A1-8D85-60AABC6AB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8E54F4-7821-4095-976A-C6A3941B6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77.94710000000001</c:v>
                </c:pt>
                <c:pt idx="1">
                  <c:v>495.51510000000002</c:v>
                </c:pt>
                <c:pt idx="2">
                  <c:v>500.47800000000001</c:v>
                </c:pt>
                <c:pt idx="3">
                  <c:v>527.24919999999997</c:v>
                </c:pt>
                <c:pt idx="4">
                  <c:v>240.24010000000001</c:v>
                </c:pt>
                <c:pt idx="5">
                  <c:v>195.91919999999999</c:v>
                </c:pt>
                <c:pt idx="6">
                  <c:v>346.16039999999998</c:v>
                </c:pt>
                <c:pt idx="7">
                  <c:v>64.307699999999997</c:v>
                </c:pt>
              </c:numCache>
            </c:numRef>
          </c:xVal>
          <c:yVal>
            <c:numRef>
              <c:f>Sheet1!$B$2:$B$9</c:f>
              <c:numCache>
                <c:formatCode>General</c:formatCode>
                <c:ptCount val="8"/>
                <c:pt idx="0">
                  <c:v>1.228</c:v>
                </c:pt>
                <c:pt idx="1">
                  <c:v>17.943999999999999</c:v>
                </c:pt>
                <c:pt idx="2">
                  <c:v>1.6679999999999999</c:v>
                </c:pt>
                <c:pt idx="3">
                  <c:v>0.78500000000000003</c:v>
                </c:pt>
                <c:pt idx="4">
                  <c:v>1.766</c:v>
                </c:pt>
                <c:pt idx="5">
                  <c:v>19.556000000000001</c:v>
                </c:pt>
                <c:pt idx="6">
                  <c:v>0</c:v>
                </c:pt>
                <c:pt idx="7">
                  <c:v>5.2999999999999999E-2</c:v>
                </c:pt>
              </c:numCache>
            </c:numRef>
          </c:yVal>
          <c:bubbleSize>
            <c:numRef>
              <c:f>Sheet1!$C$2:$C$9</c:f>
              <c:numCache>
                <c:formatCode>General</c:formatCode>
                <c:ptCount val="8"/>
                <c:pt idx="0">
                  <c:v>238805</c:v>
                </c:pt>
                <c:pt idx="1">
                  <c:v>213567</c:v>
                </c:pt>
                <c:pt idx="2">
                  <c:v>205196</c:v>
                </c:pt>
                <c:pt idx="3">
                  <c:v>165029</c:v>
                </c:pt>
                <c:pt idx="4">
                  <c:v>133093</c:v>
                </c:pt>
                <c:pt idx="5">
                  <c:v>77584</c:v>
                </c:pt>
                <c:pt idx="6">
                  <c:v>64732</c:v>
                </c:pt>
                <c:pt idx="7">
                  <c:v>836</c:v>
                </c:pt>
              </c:numCache>
            </c:numRef>
          </c:bubbleSize>
          <c:bubble3D val="0"/>
          <c:extLst>
            <c:ext xmlns:c15="http://schemas.microsoft.com/office/drawing/2012/chart" uri="{02D57815-91ED-43cb-92C2-25804820EDAC}">
              <c15:datalabelsRange>
                <c15:f>Sheet1!$E$2:$E$10</c15:f>
                <c15:dlblRangeCache>
                  <c:ptCount val="9"/>
                  <c:pt idx="0">
                    <c:v>Neutrogena</c:v>
                  </c:pt>
                  <c:pt idx="1">
                    <c:v>Avene</c:v>
                  </c:pt>
                  <c:pt idx="2">
                    <c:v>Eucerin</c:v>
                  </c:pt>
                  <c:pt idx="3">
                    <c:v>Eclipsol</c:v>
                  </c:pt>
                  <c:pt idx="4">
                    <c:v>Vichy</c:v>
                  </c:pt>
                  <c:pt idx="5">
                    <c:v>La Roche-Posay</c:v>
                  </c:pt>
                  <c:pt idx="6">
                    <c:v>Photoderm</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33"/>
          <c:min val="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7A8A31-E35B-4ED5-9458-8AAF4CA94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38CBA6-1905-458A-90F4-2DCB413E0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8836DE-2BC0-4640-9AD1-0FA9B3E35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9F1C91-83BB-4BCD-98F2-2FDD7B577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9A19B9-18F8-40DA-AF06-F70FC21A2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F822D95-069C-45FE-A1A6-BA183B3D7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8CD2994-C181-45E4-821B-BD23EBA6A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69699C4-AB2D-48DC-AFA8-ADDE8BCB8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00290000000001</c:v>
                </c:pt>
                <c:pt idx="1">
                  <c:v>245.23140000000001</c:v>
                </c:pt>
                <c:pt idx="2">
                  <c:v>217.64420000000001</c:v>
                </c:pt>
                <c:pt idx="3">
                  <c:v>137.20750000000001</c:v>
                </c:pt>
                <c:pt idx="4">
                  <c:v>329.11489999999998</c:v>
                </c:pt>
              </c:numCache>
            </c:numRef>
          </c:xVal>
          <c:yVal>
            <c:numRef>
              <c:f>Sheet1!$B$2:$B$6</c:f>
              <c:numCache>
                <c:formatCode>General</c:formatCode>
                <c:ptCount val="5"/>
                <c:pt idx="0">
                  <c:v>1.0780000000000001</c:v>
                </c:pt>
                <c:pt idx="1">
                  <c:v>1.145</c:v>
                </c:pt>
                <c:pt idx="2">
                  <c:v>0.85899999999999999</c:v>
                </c:pt>
                <c:pt idx="3">
                  <c:v>0.86499999999999999</c:v>
                </c:pt>
                <c:pt idx="4">
                  <c:v>1.3049999999999999</c:v>
                </c:pt>
              </c:numCache>
            </c:numRef>
          </c:yVal>
          <c:bubbleSize>
            <c:numRef>
              <c:f>Sheet1!$C$2:$C$6</c:f>
              <c:numCache>
                <c:formatCode>General</c:formatCode>
                <c:ptCount val="5"/>
                <c:pt idx="0">
                  <c:v>2267399</c:v>
                </c:pt>
                <c:pt idx="1">
                  <c:v>1015258</c:v>
                </c:pt>
                <c:pt idx="2">
                  <c:v>577410</c:v>
                </c:pt>
                <c:pt idx="3">
                  <c:v>234076</c:v>
                </c:pt>
                <c:pt idx="4">
                  <c:v>77342</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Cerapil</c:v>
                  </c:pt>
                  <c:pt idx="4">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95"/>
          <c:min val="1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791EB8-C3A5-4A45-A1F6-AE729EEC6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9FF3C3-4F6C-4B64-851F-4B1D6DA33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EEA9F9-0EE7-4E65-85FF-BC730A849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E88C5D-4ED6-4E74-B463-21EE64B0F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034E85F-C67F-4ABA-9C74-9B95470F4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50BC14F-85EA-4EB7-97E9-5C236D7D3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E38EDB-4E75-4D47-8F95-56EFADCB5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E05DEC9-D968-4FAE-B577-FB9F3313C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1.01689999999999</c:v>
                </c:pt>
                <c:pt idx="1">
                  <c:v>135.572</c:v>
                </c:pt>
                <c:pt idx="2">
                  <c:v>117.3258</c:v>
                </c:pt>
                <c:pt idx="3">
                  <c:v>54.368899999999996</c:v>
                </c:pt>
              </c:numCache>
            </c:numRef>
          </c:xVal>
          <c:yVal>
            <c:numRef>
              <c:f>Sheet1!$B$2:$B$5</c:f>
              <c:numCache>
                <c:formatCode>General</c:formatCode>
                <c:ptCount val="4"/>
                <c:pt idx="0">
                  <c:v>1.3120000000000001</c:v>
                </c:pt>
                <c:pt idx="1">
                  <c:v>0.79</c:v>
                </c:pt>
                <c:pt idx="2">
                  <c:v>1.079</c:v>
                </c:pt>
                <c:pt idx="3">
                  <c:v>0.42099999999999999</c:v>
                </c:pt>
              </c:numCache>
            </c:numRef>
          </c:yVal>
          <c:bubbleSize>
            <c:numRef>
              <c:f>Sheet1!$C$2:$C$5</c:f>
              <c:numCache>
                <c:formatCode>General</c:formatCode>
                <c:ptCount val="4"/>
                <c:pt idx="0">
                  <c:v>1738558</c:v>
                </c:pt>
                <c:pt idx="1">
                  <c:v>1670789</c:v>
                </c:pt>
                <c:pt idx="2">
                  <c:v>903761</c:v>
                </c:pt>
                <c:pt idx="3">
                  <c:v>53499</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5"/>
          <c:min val="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0B0A14-0B17-4A27-8DA9-7375FEC41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03F2D8-3C5F-4B55-A91E-785743556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AA6DC6-7549-41BA-9512-A73C38AB1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D83C19-F598-4A84-903F-FDB61CFFA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82CEFD-6B33-428A-9540-C04F83EE6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F0F863-D89D-4E06-992C-DF16501E3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559CD8-20FB-47EB-AE4D-24532E94C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5E62F3-4002-41D1-A360-898F0681D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6602</c:v>
                </c:pt>
                <c:pt idx="1">
                  <c:v>552.87279999999998</c:v>
                </c:pt>
                <c:pt idx="2">
                  <c:v>195.17679999999999</c:v>
                </c:pt>
                <c:pt idx="3">
                  <c:v>203.66030000000001</c:v>
                </c:pt>
                <c:pt idx="4">
                  <c:v>544.99419999999998</c:v>
                </c:pt>
                <c:pt idx="5">
                  <c:v>293.06799999999998</c:v>
                </c:pt>
                <c:pt idx="6">
                  <c:v>574.2405</c:v>
                </c:pt>
                <c:pt idx="7">
                  <c:v>220.01349999999999</c:v>
                </c:pt>
              </c:numCache>
            </c:numRef>
          </c:xVal>
          <c:yVal>
            <c:numRef>
              <c:f>Sheet1!$B$2:$B$9</c:f>
              <c:numCache>
                <c:formatCode>General</c:formatCode>
                <c:ptCount val="8"/>
                <c:pt idx="0">
                  <c:v>0.89500000000000002</c:v>
                </c:pt>
                <c:pt idx="1">
                  <c:v>3.38</c:v>
                </c:pt>
                <c:pt idx="2">
                  <c:v>0.59399999999999997</c:v>
                </c:pt>
                <c:pt idx="3">
                  <c:v>0.59399999999999997</c:v>
                </c:pt>
                <c:pt idx="4">
                  <c:v>4.4909999999999997</c:v>
                </c:pt>
                <c:pt idx="5">
                  <c:v>1.6759999999999999</c:v>
                </c:pt>
                <c:pt idx="6">
                  <c:v>3.9430000000000001</c:v>
                </c:pt>
                <c:pt idx="7">
                  <c:v>2.161</c:v>
                </c:pt>
              </c:numCache>
            </c:numRef>
          </c:yVal>
          <c:bubbleSize>
            <c:numRef>
              <c:f>Sheet1!$C$2:$C$9</c:f>
              <c:numCache>
                <c:formatCode>General</c:formatCode>
                <c:ptCount val="8"/>
                <c:pt idx="0">
                  <c:v>76877378</c:v>
                </c:pt>
                <c:pt idx="1">
                  <c:v>38563986</c:v>
                </c:pt>
                <c:pt idx="2">
                  <c:v>32325964</c:v>
                </c:pt>
                <c:pt idx="3">
                  <c:v>31364903</c:v>
                </c:pt>
                <c:pt idx="4">
                  <c:v>20599144</c:v>
                </c:pt>
                <c:pt idx="5">
                  <c:v>19334577</c:v>
                </c:pt>
                <c:pt idx="6">
                  <c:v>12851502</c:v>
                </c:pt>
                <c:pt idx="7">
                  <c:v>191719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Banana Boat</c:v>
                  </c:pt>
                  <c:pt idx="4">
                    <c:v>La Roche-Posay</c:v>
                  </c:pt>
                  <c:pt idx="5">
                    <c:v>Neutrogena</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9"/>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33B409-CF40-45EA-8627-F97110930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9A000F-28D6-4088-A987-EEB176ADC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F4C9A7-9518-4372-9816-DFF8F6A88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93FB21-08C9-448C-813D-446E8DD62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283BB9-5021-4827-9DCC-055D374A1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AD16A3-4D58-4845-B791-565BE8E50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725130-6338-4FBF-BFA1-0956DCAF5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09630D-B965-49E1-9ECB-99E5C2C31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4.1848</c:v>
                </c:pt>
                <c:pt idx="1">
                  <c:v>451.14890000000003</c:v>
                </c:pt>
                <c:pt idx="2">
                  <c:v>292.351</c:v>
                </c:pt>
                <c:pt idx="3">
                  <c:v>398.23360000000002</c:v>
                </c:pt>
                <c:pt idx="4">
                  <c:v>277.202</c:v>
                </c:pt>
                <c:pt idx="5">
                  <c:v>444.82150000000001</c:v>
                </c:pt>
                <c:pt idx="6">
                  <c:v>247.61539999999999</c:v>
                </c:pt>
              </c:numCache>
            </c:numRef>
          </c:xVal>
          <c:yVal>
            <c:numRef>
              <c:f>Sheet1!$B$2:$B$8</c:f>
              <c:numCache>
                <c:formatCode>General</c:formatCode>
                <c:ptCount val="7"/>
                <c:pt idx="0">
                  <c:v>1.911</c:v>
                </c:pt>
                <c:pt idx="1">
                  <c:v>1.387</c:v>
                </c:pt>
                <c:pt idx="2">
                  <c:v>0.64200000000000002</c:v>
                </c:pt>
                <c:pt idx="3">
                  <c:v>0.9</c:v>
                </c:pt>
                <c:pt idx="4">
                  <c:v>1.534</c:v>
                </c:pt>
                <c:pt idx="5">
                  <c:v>0.372</c:v>
                </c:pt>
                <c:pt idx="6">
                  <c:v>0.14299999999999999</c:v>
                </c:pt>
              </c:numCache>
            </c:numRef>
          </c:yVal>
          <c:bubbleSize>
            <c:numRef>
              <c:f>Sheet1!$C$2:$C$8</c:f>
              <c:numCache>
                <c:formatCode>General</c:formatCode>
                <c:ptCount val="7"/>
                <c:pt idx="0">
                  <c:v>4965545</c:v>
                </c:pt>
                <c:pt idx="1">
                  <c:v>2807951</c:v>
                </c:pt>
                <c:pt idx="2">
                  <c:v>1714346</c:v>
                </c:pt>
                <c:pt idx="3">
                  <c:v>1174789</c:v>
                </c:pt>
                <c:pt idx="4">
                  <c:v>469303</c:v>
                </c:pt>
                <c:pt idx="5">
                  <c:v>363864</c:v>
                </c:pt>
                <c:pt idx="6">
                  <c:v>32190</c:v>
                </c:pt>
              </c:numCache>
            </c:numRef>
          </c:bubbleSize>
          <c:bubble3D val="0"/>
          <c:extLst>
            <c:ext xmlns:c15="http://schemas.microsoft.com/office/drawing/2012/chart" uri="{02D57815-91ED-43cb-92C2-25804820EDAC}">
              <c15:datalabelsRange>
                <c15:f>Sheet1!$E$2:$E$10</c15:f>
                <c15:dlblRangeCache>
                  <c:ptCount val="9"/>
                  <c:pt idx="0">
                    <c:v>La Roche-Posay</c:v>
                  </c:pt>
                  <c:pt idx="1">
                    <c:v>Avene</c:v>
                  </c:pt>
                  <c:pt idx="2">
                    <c:v>Vichy</c:v>
                  </c:pt>
                  <c:pt idx="3">
                    <c:v>Eucerin</c:v>
                  </c:pt>
                  <c:pt idx="4">
                    <c:v>Photoderm</c:v>
                  </c:pt>
                  <c:pt idx="5">
                    <c:v>Eclipsol</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1"/>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E2D53DB-3761-4CA0-8F2D-1B1DEF2D6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757B8CC-2EEF-4235-A6F0-23CD4E09B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D56FD0B-4780-4245-B203-D612DC53E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65B2207-CE95-4BB9-A200-0B94EFCE3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DCA02C8-962C-4432-8E78-87AC8B575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679D544-FDE1-4674-B898-C48DB5162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52CD152-C103-4FC4-8851-004237AB6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3680D3F-0165-4287-AF82-69A27EA10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77.94710000000001</c:v>
                </c:pt>
                <c:pt idx="1">
                  <c:v>495.51510000000002</c:v>
                </c:pt>
                <c:pt idx="2">
                  <c:v>500.47800000000001</c:v>
                </c:pt>
                <c:pt idx="3">
                  <c:v>527.24919999999997</c:v>
                </c:pt>
                <c:pt idx="4">
                  <c:v>240.24010000000001</c:v>
                </c:pt>
                <c:pt idx="5">
                  <c:v>195.91919999999999</c:v>
                </c:pt>
                <c:pt idx="6">
                  <c:v>346.16039999999998</c:v>
                </c:pt>
                <c:pt idx="7">
                  <c:v>64.307699999999997</c:v>
                </c:pt>
              </c:numCache>
            </c:numRef>
          </c:xVal>
          <c:yVal>
            <c:numRef>
              <c:f>Sheet1!$B$2:$B$9</c:f>
              <c:numCache>
                <c:formatCode>General</c:formatCode>
                <c:ptCount val="8"/>
                <c:pt idx="0">
                  <c:v>1.228</c:v>
                </c:pt>
                <c:pt idx="1">
                  <c:v>17.943999999999999</c:v>
                </c:pt>
                <c:pt idx="2">
                  <c:v>1.6679999999999999</c:v>
                </c:pt>
                <c:pt idx="3">
                  <c:v>0.78500000000000003</c:v>
                </c:pt>
                <c:pt idx="4">
                  <c:v>1.766</c:v>
                </c:pt>
                <c:pt idx="5">
                  <c:v>19.556000000000001</c:v>
                </c:pt>
                <c:pt idx="6">
                  <c:v>0</c:v>
                </c:pt>
                <c:pt idx="7">
                  <c:v>5.2999999999999999E-2</c:v>
                </c:pt>
              </c:numCache>
            </c:numRef>
          </c:yVal>
          <c:bubbleSize>
            <c:numRef>
              <c:f>Sheet1!$C$2:$C$9</c:f>
              <c:numCache>
                <c:formatCode>General</c:formatCode>
                <c:ptCount val="8"/>
                <c:pt idx="0">
                  <c:v>238805</c:v>
                </c:pt>
                <c:pt idx="1">
                  <c:v>213567</c:v>
                </c:pt>
                <c:pt idx="2">
                  <c:v>205196</c:v>
                </c:pt>
                <c:pt idx="3">
                  <c:v>165029</c:v>
                </c:pt>
                <c:pt idx="4">
                  <c:v>133093</c:v>
                </c:pt>
                <c:pt idx="5">
                  <c:v>77584</c:v>
                </c:pt>
                <c:pt idx="6">
                  <c:v>64732</c:v>
                </c:pt>
                <c:pt idx="7">
                  <c:v>836</c:v>
                </c:pt>
              </c:numCache>
            </c:numRef>
          </c:bubbleSize>
          <c:bubble3D val="0"/>
          <c:extLst>
            <c:ext xmlns:c15="http://schemas.microsoft.com/office/drawing/2012/chart" uri="{02D57815-91ED-43cb-92C2-25804820EDAC}">
              <c15:datalabelsRange>
                <c15:f>Sheet1!$E$2:$E$10</c15:f>
                <c15:dlblRangeCache>
                  <c:ptCount val="9"/>
                  <c:pt idx="0">
                    <c:v>Neutrogena</c:v>
                  </c:pt>
                  <c:pt idx="1">
                    <c:v>Avene</c:v>
                  </c:pt>
                  <c:pt idx="2">
                    <c:v>Eucerin</c:v>
                  </c:pt>
                  <c:pt idx="3">
                    <c:v>Eclipsol</c:v>
                  </c:pt>
                  <c:pt idx="4">
                    <c:v>Vichy</c:v>
                  </c:pt>
                  <c:pt idx="5">
                    <c:v>La Roche-Posay</c:v>
                  </c:pt>
                  <c:pt idx="6">
                    <c:v>Photoderm</c:v>
                  </c:pt>
                  <c:pt idx="7">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33"/>
          <c:min val="5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F29FAB-1AA7-4058-9452-396127E47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3CD073-0B61-43AA-893C-EF4B71776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37BBB8-9119-4288-A7FE-F08D0FE57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16B88E-D74B-46CB-8394-EDCBF8E70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0793D45-75BA-479B-AA16-01072BC45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0F45EAE-3C16-48BE-9C5F-86A5E9585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9E341D3-D1ED-4A5A-AF73-B9D221278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7FA6F2-D760-4DE4-ADDB-59FE48457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3.94550000000001</c:v>
                </c:pt>
                <c:pt idx="1">
                  <c:v>242.26339999999999</c:v>
                </c:pt>
                <c:pt idx="2">
                  <c:v>210.5241</c:v>
                </c:pt>
                <c:pt idx="3">
                  <c:v>685.87379999999996</c:v>
                </c:pt>
              </c:numCache>
            </c:numRef>
          </c:xVal>
          <c:yVal>
            <c:numRef>
              <c:f>Sheet1!$B$2:$B$5</c:f>
              <c:numCache>
                <c:formatCode>General</c:formatCode>
                <c:ptCount val="4"/>
                <c:pt idx="0">
                  <c:v>0.95699999999999996</c:v>
                </c:pt>
                <c:pt idx="1">
                  <c:v>1.175</c:v>
                </c:pt>
                <c:pt idx="2">
                  <c:v>0.84699999999999998</c:v>
                </c:pt>
                <c:pt idx="3">
                  <c:v>3.5230000000000001</c:v>
                </c:pt>
              </c:numCache>
            </c:numRef>
          </c:yVal>
          <c:bubbleSize>
            <c:numRef>
              <c:f>Sheet1!$C$2:$C$5</c:f>
              <c:numCache>
                <c:formatCode>General</c:formatCode>
                <c:ptCount val="4"/>
                <c:pt idx="0">
                  <c:v>1245526</c:v>
                </c:pt>
                <c:pt idx="1">
                  <c:v>462723</c:v>
                </c:pt>
                <c:pt idx="2">
                  <c:v>414943</c:v>
                </c:pt>
                <c:pt idx="3">
                  <c:v>70645</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3"/>
          <c:min val="1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F3D37B-0690-4FFE-B533-9AD8045B4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14E336-98DC-4C88-A4B6-FE63A6686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41E26D-F6C3-4515-A168-403485471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432D50-A9F5-4196-932C-8212EFD23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42074A4-8964-4B01-A777-2747097F8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710F966-8158-4AED-9E8C-C38EF2EDE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0D4785-19C2-4329-A4B8-FDAAF8A4C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E8E6AAB-2998-41DD-8A0F-7CD0D5C6A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26.7676</c:v>
                </c:pt>
                <c:pt idx="1">
                  <c:v>148.6302</c:v>
                </c:pt>
                <c:pt idx="2">
                  <c:v>108.1014</c:v>
                </c:pt>
                <c:pt idx="3">
                  <c:v>409.27170000000001</c:v>
                </c:pt>
              </c:numCache>
            </c:numRef>
          </c:xVal>
          <c:yVal>
            <c:numRef>
              <c:f>Sheet1!$B$2:$B$5</c:f>
              <c:numCache>
                <c:formatCode>General</c:formatCode>
                <c:ptCount val="4"/>
                <c:pt idx="0">
                  <c:v>0.91900000000000004</c:v>
                </c:pt>
                <c:pt idx="1">
                  <c:v>1.1910000000000001</c:v>
                </c:pt>
                <c:pt idx="2">
                  <c:v>1.0309999999999999</c:v>
                </c:pt>
                <c:pt idx="3">
                  <c:v>4.7830000000000004</c:v>
                </c:pt>
              </c:numCache>
            </c:numRef>
          </c:yVal>
          <c:bubbleSize>
            <c:numRef>
              <c:f>Sheet1!$C$2:$C$5</c:f>
              <c:numCache>
                <c:formatCode>General</c:formatCode>
                <c:ptCount val="4"/>
                <c:pt idx="0">
                  <c:v>933136</c:v>
                </c:pt>
                <c:pt idx="1">
                  <c:v>673146</c:v>
                </c:pt>
                <c:pt idx="2">
                  <c:v>500077</c:v>
                </c:pt>
                <c:pt idx="3">
                  <c:v>37653</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Nivea</c:v>
                  </c:pt>
                  <c:pt idx="3">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1"/>
          <c:min val="8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A49709-550F-4B4E-8FC6-1F827F7A8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1CE84E-BB8D-4F44-9166-D3AC18A6F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0D0722-48AE-4645-A192-0CB6E1D35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6D29D2-2278-43E1-9B61-000631BAC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D9F595-1E67-4682-972A-66C4C1C15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4DBE28-8751-4CBC-BDD5-CF47C3831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944DEB-8916-4090-8A02-B26EE0157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33DA9C-B679-4CA9-B3D8-5E06FE41C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1934</c:v>
                </c:pt>
                <c:pt idx="1">
                  <c:v>221.48009999999999</c:v>
                </c:pt>
                <c:pt idx="2">
                  <c:v>230.29810000000001</c:v>
                </c:pt>
                <c:pt idx="3">
                  <c:v>282.05270000000002</c:v>
                </c:pt>
                <c:pt idx="4">
                  <c:v>87.403199999999998</c:v>
                </c:pt>
                <c:pt idx="5">
                  <c:v>605.09690000000001</c:v>
                </c:pt>
                <c:pt idx="6">
                  <c:v>73.717100000000002</c:v>
                </c:pt>
                <c:pt idx="7">
                  <c:v>156.0933</c:v>
                </c:pt>
              </c:numCache>
            </c:numRef>
          </c:xVal>
          <c:yVal>
            <c:numRef>
              <c:f>Sheet1!$B$2:$B$9</c:f>
              <c:numCache>
                <c:formatCode>General</c:formatCode>
                <c:ptCount val="8"/>
                <c:pt idx="0">
                  <c:v>1.129</c:v>
                </c:pt>
                <c:pt idx="1">
                  <c:v>0.85299999999999998</c:v>
                </c:pt>
                <c:pt idx="2">
                  <c:v>0.872</c:v>
                </c:pt>
                <c:pt idx="3">
                  <c:v>2.0840000000000001</c:v>
                </c:pt>
                <c:pt idx="4">
                  <c:v>0.47299999999999998</c:v>
                </c:pt>
                <c:pt idx="5">
                  <c:v>4.97</c:v>
                </c:pt>
                <c:pt idx="6">
                  <c:v>0.44600000000000001</c:v>
                </c:pt>
                <c:pt idx="7">
                  <c:v>2.2490000000000001</c:v>
                </c:pt>
              </c:numCache>
            </c:numRef>
          </c:yVal>
          <c:bubbleSize>
            <c:numRef>
              <c:f>Sheet1!$C$2:$C$9</c:f>
              <c:numCache>
                <c:formatCode>General</c:formatCode>
                <c:ptCount val="8"/>
                <c:pt idx="0">
                  <c:v>106919192</c:v>
                </c:pt>
                <c:pt idx="1">
                  <c:v>45886031</c:v>
                </c:pt>
                <c:pt idx="2">
                  <c:v>33832400</c:v>
                </c:pt>
                <c:pt idx="3">
                  <c:v>13126731</c:v>
                </c:pt>
                <c:pt idx="4">
                  <c:v>10154333</c:v>
                </c:pt>
                <c:pt idx="5">
                  <c:v>3786091</c:v>
                </c:pt>
                <c:pt idx="6">
                  <c:v>3202788</c:v>
                </c:pt>
                <c:pt idx="7">
                  <c:v>223447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Caribbean Beach</c:v>
                  </c:pt>
                  <c:pt idx="5">
                    <c:v>Isdin</c:v>
                  </c:pt>
                  <c:pt idx="6">
                    <c:v>Nuve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1A0D79-B956-4E7F-9305-40A8709D5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C4D076-3001-4121-8A30-1579C3A30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C9D266-95DA-491B-8A38-13E314184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470C6B-47A7-4304-8500-5591F29B0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97CC45-2B18-4433-A9CD-573E3954D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16FDE76-04C1-481D-A941-1451C42E6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5AE7BDE-040E-46F8-B02F-3876BBACE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09E43B-EAD0-4A0A-9CFC-BE26880AD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5.5805</c:v>
                </c:pt>
                <c:pt idx="1">
                  <c:v>634.89549999999997</c:v>
                </c:pt>
                <c:pt idx="2">
                  <c:v>638.57579999999996</c:v>
                </c:pt>
                <c:pt idx="3">
                  <c:v>39.879300000000001</c:v>
                </c:pt>
                <c:pt idx="4">
                  <c:v>585</c:v>
                </c:pt>
              </c:numCache>
            </c:numRef>
          </c:xVal>
          <c:yVal>
            <c:numRef>
              <c:f>Sheet1!$B$2:$B$6</c:f>
              <c:numCache>
                <c:formatCode>General</c:formatCode>
                <c:ptCount val="5"/>
                <c:pt idx="0">
                  <c:v>3.4609999999999999</c:v>
                </c:pt>
                <c:pt idx="1">
                  <c:v>3.8809999999999998</c:v>
                </c:pt>
                <c:pt idx="2">
                  <c:v>0</c:v>
                </c:pt>
                <c:pt idx="3">
                  <c:v>0.123</c:v>
                </c:pt>
                <c:pt idx="4">
                  <c:v>0</c:v>
                </c:pt>
              </c:numCache>
            </c:numRef>
          </c:yVal>
          <c:bubbleSize>
            <c:numRef>
              <c:f>Sheet1!$C$2:$C$6</c:f>
              <c:numCache>
                <c:formatCode>General</c:formatCode>
                <c:ptCount val="5"/>
                <c:pt idx="0">
                  <c:v>97549</c:v>
                </c:pt>
                <c:pt idx="1">
                  <c:v>85076</c:v>
                </c:pt>
                <c:pt idx="2">
                  <c:v>21073</c:v>
                </c:pt>
                <c:pt idx="3">
                  <c:v>11565</c:v>
                </c:pt>
                <c:pt idx="4">
                  <c:v>7020</c:v>
                </c:pt>
              </c:numCache>
            </c:numRef>
          </c:bubbleSize>
          <c:bubble3D val="0"/>
          <c:extLst>
            <c:ext xmlns:c15="http://schemas.microsoft.com/office/drawing/2012/chart" uri="{02D57815-91ED-43cb-92C2-25804820EDAC}">
              <c15:datalabelsRange>
                <c15:f>Sheet1!$E$2:$E$10</c15:f>
                <c15:dlblRangeCache>
                  <c:ptCount val="9"/>
                  <c:pt idx="0">
                    <c:v>Neutrogena</c:v>
                  </c:pt>
                  <c:pt idx="1">
                    <c:v>Eclipsol</c:v>
                  </c:pt>
                  <c:pt idx="2">
                    <c:v>Eucerin</c:v>
                  </c:pt>
                  <c:pt idx="3">
                    <c:v>Caribbean Beach</c:v>
                  </c:pt>
                  <c:pt idx="4">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6"/>
          <c:min val="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2984E5-587E-4A8F-8AED-6D4F80E64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E62FF2-CC5F-48A7-BBEF-166CD596D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7F35A1-313D-4D62-AC8F-1EDD69506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33A089-0F85-4775-A549-A4CD68D77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F4B4ED7-E3BF-4D33-9B04-68E601755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B53574A-0360-41ED-A339-ECC265AD1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5360AD8-3AB4-4D9E-B325-4E3DCCFB7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2849E90-BEA4-4327-9FDA-4AA332EB3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0.00049999999999</c:v>
                </c:pt>
                <c:pt idx="1">
                  <c:v>242.67789999999999</c:v>
                </c:pt>
                <c:pt idx="2">
                  <c:v>243.4812</c:v>
                </c:pt>
                <c:pt idx="3">
                  <c:v>230.47839999999999</c:v>
                </c:pt>
              </c:numCache>
            </c:numRef>
          </c:xVal>
          <c:yVal>
            <c:numRef>
              <c:f>Sheet1!$B$2:$B$5</c:f>
              <c:numCache>
                <c:formatCode>General</c:formatCode>
                <c:ptCount val="4"/>
                <c:pt idx="0">
                  <c:v>0.96599999999999997</c:v>
                </c:pt>
                <c:pt idx="1">
                  <c:v>1.034</c:v>
                </c:pt>
                <c:pt idx="2">
                  <c:v>0.97899999999999998</c:v>
                </c:pt>
                <c:pt idx="3">
                  <c:v>0.82899999999999996</c:v>
                </c:pt>
              </c:numCache>
            </c:numRef>
          </c:yVal>
          <c:bubbleSize>
            <c:numRef>
              <c:f>Sheet1!$C$2:$C$5</c:f>
              <c:numCache>
                <c:formatCode>General</c:formatCode>
                <c:ptCount val="4"/>
                <c:pt idx="0">
                  <c:v>3012936</c:v>
                </c:pt>
                <c:pt idx="1">
                  <c:v>2876219</c:v>
                </c:pt>
                <c:pt idx="2">
                  <c:v>953229</c:v>
                </c:pt>
                <c:pt idx="3">
                  <c:v>293399</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Australian Gold</c:v>
                  </c:pt>
                  <c:pt idx="3">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18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FDF326-820E-42AA-ADD1-B4779A975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2415CE-A8CD-46D9-8962-2C64AE458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DDF1AC-D9D2-4F39-99DA-8FA9832D9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CCB429-089A-4E77-B429-2074E8696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946E538-D5A8-47C2-90E9-55E258CEB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62B40B7-7142-4C4F-874C-809C701E0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D4CBC46-9A81-4996-B325-356730EEA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ED30172-2843-4498-A776-3EC889A40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0.4076</c:v>
                </c:pt>
                <c:pt idx="1">
                  <c:v>131.8665</c:v>
                </c:pt>
                <c:pt idx="2">
                  <c:v>116.82640000000001</c:v>
                </c:pt>
                <c:pt idx="3">
                  <c:v>213.8289</c:v>
                </c:pt>
                <c:pt idx="4">
                  <c:v>53.390799999999999</c:v>
                </c:pt>
              </c:numCache>
            </c:numRef>
          </c:xVal>
          <c:yVal>
            <c:numRef>
              <c:f>Sheet1!$B$2:$B$6</c:f>
              <c:numCache>
                <c:formatCode>General</c:formatCode>
                <c:ptCount val="5"/>
                <c:pt idx="0">
                  <c:v>0.99399999999999999</c:v>
                </c:pt>
                <c:pt idx="1">
                  <c:v>0.67200000000000004</c:v>
                </c:pt>
                <c:pt idx="2">
                  <c:v>0.92800000000000005</c:v>
                </c:pt>
                <c:pt idx="3">
                  <c:v>1.472</c:v>
                </c:pt>
                <c:pt idx="4">
                  <c:v>0.35699999999999998</c:v>
                </c:pt>
              </c:numCache>
            </c:numRef>
          </c:yVal>
          <c:bubbleSize>
            <c:numRef>
              <c:f>Sheet1!$C$2:$C$6</c:f>
              <c:numCache>
                <c:formatCode>General</c:formatCode>
                <c:ptCount val="5"/>
                <c:pt idx="0">
                  <c:v>2871732</c:v>
                </c:pt>
                <c:pt idx="1">
                  <c:v>1293742</c:v>
                </c:pt>
                <c:pt idx="2">
                  <c:v>1124337</c:v>
                </c:pt>
                <c:pt idx="3">
                  <c:v>319888</c:v>
                </c:pt>
                <c:pt idx="4">
                  <c:v>131982</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pt idx="4">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9818A0-B1AF-43D5-80A6-04458DEF7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5A38B9-93F5-4004-BDD6-9029BAD3A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963286-F4AA-4FC1-9F72-C60E266E2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C643A4-69F2-4D9E-9869-0B2AE6067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69082E-0D1F-4D5A-A3EA-536D21D7F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FC3392-C822-4EB3-B862-2C037A8D5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CA0447-DBDB-4F0A-977D-68CB7FCA0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3670B5-224D-4D04-ADD4-8C48C8305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63650000000001</c:v>
                </c:pt>
                <c:pt idx="1">
                  <c:v>210.92689999999999</c:v>
                </c:pt>
                <c:pt idx="2">
                  <c:v>229.2878</c:v>
                </c:pt>
                <c:pt idx="3">
                  <c:v>590.55079999999998</c:v>
                </c:pt>
                <c:pt idx="4">
                  <c:v>290.10489999999999</c:v>
                </c:pt>
                <c:pt idx="5">
                  <c:v>84.980599999999995</c:v>
                </c:pt>
                <c:pt idx="6">
                  <c:v>592.2799</c:v>
                </c:pt>
                <c:pt idx="7">
                  <c:v>214.86019999999999</c:v>
                </c:pt>
              </c:numCache>
            </c:numRef>
          </c:xVal>
          <c:yVal>
            <c:numRef>
              <c:f>Sheet1!$B$2:$B$9</c:f>
              <c:numCache>
                <c:formatCode>General</c:formatCode>
                <c:ptCount val="8"/>
                <c:pt idx="0">
                  <c:v>1.042</c:v>
                </c:pt>
                <c:pt idx="1">
                  <c:v>0.75700000000000001</c:v>
                </c:pt>
                <c:pt idx="2">
                  <c:v>0.748</c:v>
                </c:pt>
                <c:pt idx="3">
                  <c:v>3.9620000000000002</c:v>
                </c:pt>
                <c:pt idx="4">
                  <c:v>1.9990000000000001</c:v>
                </c:pt>
                <c:pt idx="5">
                  <c:v>0.438</c:v>
                </c:pt>
                <c:pt idx="6">
                  <c:v>5.0540000000000003</c:v>
                </c:pt>
                <c:pt idx="7">
                  <c:v>2.6779999999999999</c:v>
                </c:pt>
              </c:numCache>
            </c:numRef>
          </c:yVal>
          <c:bubbleSize>
            <c:numRef>
              <c:f>Sheet1!$C$2:$C$9</c:f>
              <c:numCache>
                <c:formatCode>General</c:formatCode>
                <c:ptCount val="8"/>
                <c:pt idx="0">
                  <c:v>88331422</c:v>
                </c:pt>
                <c:pt idx="1">
                  <c:v>38701083</c:v>
                </c:pt>
                <c:pt idx="2">
                  <c:v>30962337</c:v>
                </c:pt>
                <c:pt idx="3">
                  <c:v>17830499</c:v>
                </c:pt>
                <c:pt idx="4">
                  <c:v>16158843</c:v>
                </c:pt>
                <c:pt idx="5">
                  <c:v>12462149</c:v>
                </c:pt>
                <c:pt idx="6">
                  <c:v>6878146</c:v>
                </c:pt>
                <c:pt idx="7">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7CC43A-6156-44A1-A639-9E44752FE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AC6BEA4-2CCE-4BA7-A35B-EE4C61055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713B4C-8DFC-456C-B876-C7873A961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1BD039-C807-4296-9DE8-BA55ADA8B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9DE480-98B3-4D59-B7B9-6A7AA7F68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38CC5B-A2BA-4B5C-95BC-D6781CFCE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EC6CE5-685D-4A6E-B119-37B24E83F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78EC00-8C8B-4078-A02A-6338206B5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62.58640000000003</c:v>
                </c:pt>
                <c:pt idx="1">
                  <c:v>311.35599999999999</c:v>
                </c:pt>
                <c:pt idx="2">
                  <c:v>358.88440000000003</c:v>
                </c:pt>
                <c:pt idx="3">
                  <c:v>451.27120000000002</c:v>
                </c:pt>
                <c:pt idx="4">
                  <c:v>534.23440000000005</c:v>
                </c:pt>
                <c:pt idx="5">
                  <c:v>180.78749999999999</c:v>
                </c:pt>
                <c:pt idx="6">
                  <c:v>325.45260000000002</c:v>
                </c:pt>
                <c:pt idx="7">
                  <c:v>305.5</c:v>
                </c:pt>
              </c:numCache>
            </c:numRef>
          </c:xVal>
          <c:yVal>
            <c:numRef>
              <c:f>Sheet1!$B$2:$B$9</c:f>
              <c:numCache>
                <c:formatCode>General</c:formatCode>
                <c:ptCount val="8"/>
                <c:pt idx="0">
                  <c:v>2.5329999999999999</c:v>
                </c:pt>
                <c:pt idx="1">
                  <c:v>2.9420000000000002</c:v>
                </c:pt>
                <c:pt idx="2">
                  <c:v>0.72199999999999998</c:v>
                </c:pt>
                <c:pt idx="3">
                  <c:v>1.0269999999999999</c:v>
                </c:pt>
                <c:pt idx="4">
                  <c:v>0.50900000000000001</c:v>
                </c:pt>
                <c:pt idx="5">
                  <c:v>0.88800000000000001</c:v>
                </c:pt>
                <c:pt idx="6">
                  <c:v>6.4080000000000004</c:v>
                </c:pt>
                <c:pt idx="7">
                  <c:v>0</c:v>
                </c:pt>
              </c:numCache>
            </c:numRef>
          </c:yVal>
          <c:bubbleSize>
            <c:numRef>
              <c:f>Sheet1!$C$2:$C$9</c:f>
              <c:numCache>
                <c:formatCode>General</c:formatCode>
                <c:ptCount val="8"/>
                <c:pt idx="0">
                  <c:v>522260</c:v>
                </c:pt>
                <c:pt idx="1">
                  <c:v>485404</c:v>
                </c:pt>
                <c:pt idx="2">
                  <c:v>276341</c:v>
                </c:pt>
                <c:pt idx="3">
                  <c:v>266250</c:v>
                </c:pt>
                <c:pt idx="4">
                  <c:v>180037</c:v>
                </c:pt>
                <c:pt idx="5">
                  <c:v>141195</c:v>
                </c:pt>
                <c:pt idx="6">
                  <c:v>75505</c:v>
                </c:pt>
                <c:pt idx="7">
                  <c:v>611</c:v>
                </c:pt>
              </c:numCache>
            </c:numRef>
          </c:bubbleSize>
          <c:bubble3D val="0"/>
          <c:extLst>
            <c:ext xmlns:c15="http://schemas.microsoft.com/office/drawing/2012/chart" uri="{02D57815-91ED-43cb-92C2-25804820EDAC}">
              <c15:datalabelsRange>
                <c15:f>Sheet1!$E$2:$E$10</c15:f>
                <c15:dlblRangeCache>
                  <c:ptCount val="9"/>
                  <c:pt idx="0">
                    <c:v>Avene</c:v>
                  </c:pt>
                  <c:pt idx="1">
                    <c:v>La Roche-Posay</c:v>
                  </c:pt>
                  <c:pt idx="2">
                    <c:v>Vichy</c:v>
                  </c:pt>
                  <c:pt idx="3">
                    <c:v>Eucerin</c:v>
                  </c:pt>
                  <c:pt idx="4">
                    <c:v>Eclipsol</c:v>
                  </c:pt>
                  <c:pt idx="5">
                    <c:v>Neutrogena</c:v>
                  </c:pt>
                  <c:pt idx="6">
                    <c:v>Photoderm</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41"/>
          <c:min val="14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D8362C-DD67-4EF8-BE33-7FEED5CC0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66D709-61C3-407E-9EE0-B22847E5F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671E77-E408-4255-A1AC-4ABB4DF57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15C0EF-FEB0-40F5-BF4E-C754C03BE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11D878-47F9-4E10-B3AA-2A3D6AA0B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7D82782-6E91-4D1D-8930-A6E7F510D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212B3A0-69CF-41A5-BEF6-2487A3B8A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2E868B-E96B-4475-8E90-21DC686A5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3.81180000000001</c:v>
                </c:pt>
                <c:pt idx="1">
                  <c:v>242.9085</c:v>
                </c:pt>
                <c:pt idx="2">
                  <c:v>225.251</c:v>
                </c:pt>
                <c:pt idx="3">
                  <c:v>250.85740000000001</c:v>
                </c:pt>
                <c:pt idx="4">
                  <c:v>134.12180000000001</c:v>
                </c:pt>
              </c:numCache>
            </c:numRef>
          </c:xVal>
          <c:yVal>
            <c:numRef>
              <c:f>Sheet1!$B$2:$B$6</c:f>
              <c:numCache>
                <c:formatCode>General</c:formatCode>
                <c:ptCount val="5"/>
                <c:pt idx="0">
                  <c:v>0.996</c:v>
                </c:pt>
                <c:pt idx="1">
                  <c:v>1.1000000000000001</c:v>
                </c:pt>
                <c:pt idx="2">
                  <c:v>0.85199999999999998</c:v>
                </c:pt>
                <c:pt idx="3">
                  <c:v>1.1339999999999999</c:v>
                </c:pt>
                <c:pt idx="4">
                  <c:v>0.84799999999999998</c:v>
                </c:pt>
              </c:numCache>
            </c:numRef>
          </c:yVal>
          <c:bubbleSize>
            <c:numRef>
              <c:f>Sheet1!$C$2:$C$6</c:f>
              <c:numCache>
                <c:formatCode>General</c:formatCode>
                <c:ptCount val="5"/>
                <c:pt idx="0">
                  <c:v>2355576</c:v>
                </c:pt>
                <c:pt idx="1">
                  <c:v>1290330</c:v>
                </c:pt>
                <c:pt idx="2">
                  <c:v>439690</c:v>
                </c:pt>
                <c:pt idx="3">
                  <c:v>283218</c:v>
                </c:pt>
                <c:pt idx="4">
                  <c:v>93617</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Australian Gold</c:v>
                  </c:pt>
                  <c:pt idx="4">
                    <c:v>Cerap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7"/>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14DCB1-0CB6-4097-80C9-FD0F6CB96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DDB819-36F2-4058-8C8C-F809593BE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E35DDF-2211-4B93-976D-22C2A1FD0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3D826A-AF18-49AB-8C28-F055628C9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3F2DB1-E393-4DF0-BCAE-BE53E68D1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83A4C62-FA7D-43CC-AA42-897CE30A3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164E6FA-B2E9-4B78-B685-886714D1E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2BDBC3A-06A0-4000-9C2B-B0C77F929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8.61539999999999</c:v>
                </c:pt>
                <c:pt idx="1">
                  <c:v>134.07570000000001</c:v>
                </c:pt>
                <c:pt idx="2">
                  <c:v>114.5124</c:v>
                </c:pt>
                <c:pt idx="3">
                  <c:v>233.68879999999999</c:v>
                </c:pt>
                <c:pt idx="4">
                  <c:v>46.746600000000001</c:v>
                </c:pt>
              </c:numCache>
            </c:numRef>
          </c:xVal>
          <c:yVal>
            <c:numRef>
              <c:f>Sheet1!$B$2:$B$6</c:f>
              <c:numCache>
                <c:formatCode>General</c:formatCode>
                <c:ptCount val="5"/>
                <c:pt idx="0">
                  <c:v>1.2569999999999999</c:v>
                </c:pt>
                <c:pt idx="1">
                  <c:v>0.77100000000000002</c:v>
                </c:pt>
                <c:pt idx="2">
                  <c:v>1.0209999999999999</c:v>
                </c:pt>
                <c:pt idx="3">
                  <c:v>2.2269999999999999</c:v>
                </c:pt>
                <c:pt idx="4">
                  <c:v>0.35399999999999998</c:v>
                </c:pt>
              </c:numCache>
            </c:numRef>
          </c:yVal>
          <c:bubbleSize>
            <c:numRef>
              <c:f>Sheet1!$C$2:$C$6</c:f>
              <c:numCache>
                <c:formatCode>General</c:formatCode>
                <c:ptCount val="5"/>
                <c:pt idx="0">
                  <c:v>1243201</c:v>
                </c:pt>
                <c:pt idx="1">
                  <c:v>1106527</c:v>
                </c:pt>
                <c:pt idx="2">
                  <c:v>647453</c:v>
                </c:pt>
                <c:pt idx="3">
                  <c:v>56319</c:v>
                </c:pt>
                <c:pt idx="4">
                  <c:v>44830</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pt idx="4">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0"/>
          <c:min val="3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A85CA48-205E-46F9-BBFE-6C2700701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1D7D8A0-0CC9-41F1-8450-9199661CD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8AD27F9-EA22-43CC-8007-E9891E534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A27FA22-6228-486B-B730-F6FEF8EE7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C9414D0-8F71-4710-B4B2-2CF85A154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CD82A03-1C70-4AA9-8BAB-229AE9325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188A727-1D17-4691-811D-F1ABD1749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DD0079A-DCE3-49A9-BE80-580E5A56D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00290000000001</c:v>
                </c:pt>
                <c:pt idx="1">
                  <c:v>245.23140000000001</c:v>
                </c:pt>
                <c:pt idx="2">
                  <c:v>217.64420000000001</c:v>
                </c:pt>
                <c:pt idx="3">
                  <c:v>137.20750000000001</c:v>
                </c:pt>
                <c:pt idx="4">
                  <c:v>329.11489999999998</c:v>
                </c:pt>
              </c:numCache>
            </c:numRef>
          </c:xVal>
          <c:yVal>
            <c:numRef>
              <c:f>Sheet1!$B$2:$B$6</c:f>
              <c:numCache>
                <c:formatCode>General</c:formatCode>
                <c:ptCount val="5"/>
                <c:pt idx="0">
                  <c:v>1.0780000000000001</c:v>
                </c:pt>
                <c:pt idx="1">
                  <c:v>1.145</c:v>
                </c:pt>
                <c:pt idx="2">
                  <c:v>0.85899999999999999</c:v>
                </c:pt>
                <c:pt idx="3">
                  <c:v>0.86499999999999999</c:v>
                </c:pt>
                <c:pt idx="4">
                  <c:v>1.3049999999999999</c:v>
                </c:pt>
              </c:numCache>
            </c:numRef>
          </c:yVal>
          <c:bubbleSize>
            <c:numRef>
              <c:f>Sheet1!$C$2:$C$6</c:f>
              <c:numCache>
                <c:formatCode>General</c:formatCode>
                <c:ptCount val="5"/>
                <c:pt idx="0">
                  <c:v>2267399</c:v>
                </c:pt>
                <c:pt idx="1">
                  <c:v>1015258</c:v>
                </c:pt>
                <c:pt idx="2">
                  <c:v>577410</c:v>
                </c:pt>
                <c:pt idx="3">
                  <c:v>234076</c:v>
                </c:pt>
                <c:pt idx="4">
                  <c:v>77342</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Cerapil</c:v>
                  </c:pt>
                  <c:pt idx="4">
                    <c:v>Australian Gold</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95"/>
          <c:min val="1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8B593F-2613-45BC-B21D-9AE2B1AD3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337723-6BCD-41C1-8766-74615E53B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68EE9A-1047-4BCA-8CE1-6E6D085EC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09BF34-0DAA-4FCB-A0B9-7047BF64E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90E636-DEAA-4EA4-9D61-7F9C02873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9AB17B-30A7-40BC-8320-659CE1074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FEFA5F-85D9-4719-99BA-B43902AF5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47482F-9591-4CDB-830D-19E094D40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6.5461</c:v>
                </c:pt>
                <c:pt idx="1">
                  <c:v>216.7578</c:v>
                </c:pt>
                <c:pt idx="2">
                  <c:v>243.03550000000001</c:v>
                </c:pt>
                <c:pt idx="3">
                  <c:v>587.34699999999998</c:v>
                </c:pt>
                <c:pt idx="4">
                  <c:v>296.93049999999999</c:v>
                </c:pt>
                <c:pt idx="5">
                  <c:v>85.879499999999993</c:v>
                </c:pt>
                <c:pt idx="6">
                  <c:v>577.61429999999996</c:v>
                </c:pt>
                <c:pt idx="7">
                  <c:v>221.1781</c:v>
                </c:pt>
              </c:numCache>
            </c:numRef>
          </c:xVal>
          <c:yVal>
            <c:numRef>
              <c:f>Sheet1!$B$2:$B$9</c:f>
              <c:numCache>
                <c:formatCode>General</c:formatCode>
                <c:ptCount val="8"/>
                <c:pt idx="0">
                  <c:v>1.06</c:v>
                </c:pt>
                <c:pt idx="1">
                  <c:v>0.78</c:v>
                </c:pt>
                <c:pt idx="2">
                  <c:v>0.79100000000000004</c:v>
                </c:pt>
                <c:pt idx="3">
                  <c:v>3.8940000000000001</c:v>
                </c:pt>
                <c:pt idx="4">
                  <c:v>2.1429999999999998</c:v>
                </c:pt>
                <c:pt idx="5">
                  <c:v>0.41099999999999998</c:v>
                </c:pt>
                <c:pt idx="6">
                  <c:v>6.2679999999999998</c:v>
                </c:pt>
                <c:pt idx="7">
                  <c:v>2.706</c:v>
                </c:pt>
              </c:numCache>
            </c:numRef>
          </c:yVal>
          <c:bubbleSize>
            <c:numRef>
              <c:f>Sheet1!$C$2:$C$9</c:f>
              <c:numCache>
                <c:formatCode>General</c:formatCode>
                <c:ptCount val="8"/>
                <c:pt idx="0">
                  <c:v>71214845</c:v>
                </c:pt>
                <c:pt idx="1">
                  <c:v>43615577</c:v>
                </c:pt>
                <c:pt idx="2">
                  <c:v>39255583</c:v>
                </c:pt>
                <c:pt idx="3">
                  <c:v>16648350</c:v>
                </c:pt>
                <c:pt idx="4">
                  <c:v>15380108</c:v>
                </c:pt>
                <c:pt idx="5">
                  <c:v>11365898</c:v>
                </c:pt>
                <c:pt idx="6">
                  <c:v>6503359</c:v>
                </c:pt>
                <c:pt idx="7">
                  <c:v>195145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6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D0BBB5-6C3E-4BE2-A56D-57E50DED6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6A127D-1E0A-4360-9712-7F7872139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677EDA-8331-45C3-8063-C65B917E7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D2B8B0-F644-44D2-AEF2-6B0C61986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351CE4-0C69-459A-AD23-F514E0F84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CF8C9F-1A9D-4317-98AE-30CF3F6F5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18D9B4-249E-4C75-B90C-1F32AD7C7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79F1F9-B00C-4073-BA32-912778AA4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12.9966</c:v>
                </c:pt>
                <c:pt idx="1">
                  <c:v>456.20460000000003</c:v>
                </c:pt>
                <c:pt idx="2">
                  <c:v>468.70490000000001</c:v>
                </c:pt>
                <c:pt idx="3">
                  <c:v>369.41070000000002</c:v>
                </c:pt>
                <c:pt idx="4">
                  <c:v>512.50450000000001</c:v>
                </c:pt>
                <c:pt idx="5">
                  <c:v>151.001</c:v>
                </c:pt>
                <c:pt idx="6">
                  <c:v>337.02379999999999</c:v>
                </c:pt>
                <c:pt idx="7">
                  <c:v>63</c:v>
                </c:pt>
              </c:numCache>
            </c:numRef>
          </c:xVal>
          <c:yVal>
            <c:numRef>
              <c:f>Sheet1!$B$2:$B$9</c:f>
              <c:numCache>
                <c:formatCode>General</c:formatCode>
                <c:ptCount val="8"/>
                <c:pt idx="0">
                  <c:v>2.093</c:v>
                </c:pt>
                <c:pt idx="1">
                  <c:v>1.7549999999999999</c:v>
                </c:pt>
                <c:pt idx="2">
                  <c:v>1.1859999999999999</c:v>
                </c:pt>
                <c:pt idx="3">
                  <c:v>0.61199999999999999</c:v>
                </c:pt>
                <c:pt idx="4">
                  <c:v>0.46700000000000003</c:v>
                </c:pt>
                <c:pt idx="5">
                  <c:v>0.71099999999999997</c:v>
                </c:pt>
                <c:pt idx="6">
                  <c:v>7.0460000000000003</c:v>
                </c:pt>
                <c:pt idx="7">
                  <c:v>0</c:v>
                </c:pt>
              </c:numCache>
            </c:numRef>
          </c:yVal>
          <c:bubbleSize>
            <c:numRef>
              <c:f>Sheet1!$C$2:$C$9</c:f>
              <c:numCache>
                <c:formatCode>General</c:formatCode>
                <c:ptCount val="8"/>
                <c:pt idx="0">
                  <c:v>731473</c:v>
                </c:pt>
                <c:pt idx="1">
                  <c:v>697993</c:v>
                </c:pt>
                <c:pt idx="2">
                  <c:v>343092</c:v>
                </c:pt>
                <c:pt idx="3">
                  <c:v>324712</c:v>
                </c:pt>
                <c:pt idx="4">
                  <c:v>171689</c:v>
                </c:pt>
                <c:pt idx="5">
                  <c:v>154323</c:v>
                </c:pt>
                <c:pt idx="6">
                  <c:v>84930</c:v>
                </c:pt>
                <c:pt idx="7">
                  <c:v>63</c:v>
                </c:pt>
              </c:numCache>
            </c:numRef>
          </c:bubbleSize>
          <c:bubble3D val="0"/>
          <c:extLst>
            <c:ext xmlns:c15="http://schemas.microsoft.com/office/drawing/2012/chart" uri="{02D57815-91ED-43cb-92C2-25804820EDAC}">
              <c15:datalabelsRange>
                <c15:f>Sheet1!$E$2:$E$10</c15:f>
                <c15:dlblRangeCache>
                  <c:ptCount val="9"/>
                  <c:pt idx="0">
                    <c:v>La Roche-Posay</c:v>
                  </c:pt>
                  <c:pt idx="1">
                    <c:v>Avene</c:v>
                  </c:pt>
                  <c:pt idx="2">
                    <c:v>Eucerin</c:v>
                  </c:pt>
                  <c:pt idx="3">
                    <c:v>Vichy</c:v>
                  </c:pt>
                  <c:pt idx="4">
                    <c:v>Eclipsol</c:v>
                  </c:pt>
                  <c:pt idx="5">
                    <c:v>Neutrogena</c:v>
                  </c:pt>
                  <c:pt idx="6">
                    <c:v>Photoderm</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5"/>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431081-6AE6-42E3-8B76-6128D7AEE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CC1DDA-CFC0-46B7-8695-6568C9948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87BF2D-C228-4315-AF99-E41E28F03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90EB6B-0C5C-49C2-9193-A327460F2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4F46B7-EE50-4DAA-928B-AC636E459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C939F7-E1C3-4925-96D7-4439D2947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10B28C6-415E-416B-8466-46B4789AB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4653DC9-1C1F-4321-B905-F1A42B1DA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8.98309999999998</c:v>
                </c:pt>
                <c:pt idx="1">
                  <c:v>249.02600000000001</c:v>
                </c:pt>
                <c:pt idx="2">
                  <c:v>224.2826</c:v>
                </c:pt>
                <c:pt idx="3">
                  <c:v>132.23079999999999</c:v>
                </c:pt>
                <c:pt idx="4">
                  <c:v>320.83780000000002</c:v>
                </c:pt>
              </c:numCache>
            </c:numRef>
          </c:xVal>
          <c:yVal>
            <c:numRef>
              <c:f>Sheet1!$B$2:$B$6</c:f>
              <c:numCache>
                <c:formatCode>General</c:formatCode>
                <c:ptCount val="5"/>
                <c:pt idx="0">
                  <c:v>1.0429999999999999</c:v>
                </c:pt>
                <c:pt idx="1">
                  <c:v>1.1499999999999999</c:v>
                </c:pt>
                <c:pt idx="2">
                  <c:v>0.86899999999999999</c:v>
                </c:pt>
                <c:pt idx="3">
                  <c:v>0.83499999999999996</c:v>
                </c:pt>
                <c:pt idx="4">
                  <c:v>1.2909999999999999</c:v>
                </c:pt>
              </c:numCache>
            </c:numRef>
          </c:yVal>
          <c:bubbleSize>
            <c:numRef>
              <c:f>Sheet1!$C$2:$C$6</c:f>
              <c:numCache>
                <c:formatCode>General</c:formatCode>
                <c:ptCount val="5"/>
                <c:pt idx="0">
                  <c:v>2737172</c:v>
                </c:pt>
                <c:pt idx="1">
                  <c:v>1255340</c:v>
                </c:pt>
                <c:pt idx="2">
                  <c:v>671502</c:v>
                </c:pt>
                <c:pt idx="3">
                  <c:v>179305</c:v>
                </c:pt>
                <c:pt idx="4">
                  <c:v>59355</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Cerapil</c:v>
                  </c:pt>
                  <c:pt idx="4">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5"/>
          <c:min val="1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60268D-4AA2-44F6-B4FA-3E6B50109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7ABDD1-90E1-433A-9D9B-8BDDDD6E0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F364FE-C74E-43DB-9AC4-0EBCF51CD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54F9DD9-4D13-4BB4-BEAC-AD96EE5E3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0496387-0D30-4745-90B2-099A0DCBA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9B152C9-C74D-43AA-872F-70EFFAC08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460EE89-61AD-4ECC-890A-C7826E30B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AAD59E-C34E-4318-A19C-D792BE5ED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8.8724</c:v>
                </c:pt>
                <c:pt idx="1">
                  <c:v>135.2869</c:v>
                </c:pt>
                <c:pt idx="2">
                  <c:v>116.2015</c:v>
                </c:pt>
              </c:numCache>
            </c:numRef>
          </c:xVal>
          <c:yVal>
            <c:numRef>
              <c:f>Sheet1!$B$2:$B$4</c:f>
              <c:numCache>
                <c:formatCode>General</c:formatCode>
                <c:ptCount val="3"/>
                <c:pt idx="0">
                  <c:v>1.264</c:v>
                </c:pt>
                <c:pt idx="1">
                  <c:v>0.80400000000000005</c:v>
                </c:pt>
                <c:pt idx="2">
                  <c:v>1.042</c:v>
                </c:pt>
              </c:numCache>
            </c:numRef>
          </c:yVal>
          <c:bubbleSize>
            <c:numRef>
              <c:f>Sheet1!$C$2:$C$4</c:f>
              <c:numCache>
                <c:formatCode>General</c:formatCode>
                <c:ptCount val="3"/>
                <c:pt idx="0">
                  <c:v>1565109</c:v>
                </c:pt>
                <c:pt idx="1">
                  <c:v>1453252</c:v>
                </c:pt>
                <c:pt idx="2">
                  <c:v>693026</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3"/>
          <c:min val="9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157EF7-BB31-42FF-8ECD-98E0BC7E4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392360-0BBD-4B93-A817-1C8E49ACA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9FA931-2C5F-4213-8143-36F21C30D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D19CB6-6A6A-4258-A3EC-24CB91713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6F6C89-04A7-429B-83A7-863ED8BA0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2C1ED2-7418-44B2-A8CA-411095CD0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30758A-912A-473B-80CD-D41D8D10A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7AC607-593E-4546-8E9C-12311B5BD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51070000000001</c:v>
                </c:pt>
                <c:pt idx="1">
                  <c:v>219.06989999999999</c:v>
                </c:pt>
                <c:pt idx="2">
                  <c:v>246.83260000000001</c:v>
                </c:pt>
                <c:pt idx="3">
                  <c:v>295.54790000000003</c:v>
                </c:pt>
                <c:pt idx="4">
                  <c:v>600.36440000000005</c:v>
                </c:pt>
                <c:pt idx="5">
                  <c:v>80.922499999999999</c:v>
                </c:pt>
                <c:pt idx="6">
                  <c:v>559.72159999999997</c:v>
                </c:pt>
                <c:pt idx="7">
                  <c:v>222.31460000000001</c:v>
                </c:pt>
              </c:numCache>
            </c:numRef>
          </c:xVal>
          <c:yVal>
            <c:numRef>
              <c:f>Sheet1!$B$2:$B$9</c:f>
              <c:numCache>
                <c:formatCode>General</c:formatCode>
                <c:ptCount val="8"/>
                <c:pt idx="0">
                  <c:v>1.089</c:v>
                </c:pt>
                <c:pt idx="1">
                  <c:v>0.79900000000000004</c:v>
                </c:pt>
                <c:pt idx="2">
                  <c:v>0.82899999999999996</c:v>
                </c:pt>
                <c:pt idx="3">
                  <c:v>2.1309999999999998</c:v>
                </c:pt>
                <c:pt idx="4">
                  <c:v>4.4080000000000004</c:v>
                </c:pt>
                <c:pt idx="5">
                  <c:v>0.42199999999999999</c:v>
                </c:pt>
                <c:pt idx="6">
                  <c:v>7.7270000000000003</c:v>
                </c:pt>
                <c:pt idx="7">
                  <c:v>2.75</c:v>
                </c:pt>
              </c:numCache>
            </c:numRef>
          </c:yVal>
          <c:bubbleSize>
            <c:numRef>
              <c:f>Sheet1!$C$2:$C$9</c:f>
              <c:numCache>
                <c:formatCode>General</c:formatCode>
                <c:ptCount val="8"/>
                <c:pt idx="0">
                  <c:v>68815552</c:v>
                </c:pt>
                <c:pt idx="1">
                  <c:v>31676853</c:v>
                </c:pt>
                <c:pt idx="2">
                  <c:v>30151588</c:v>
                </c:pt>
                <c:pt idx="3">
                  <c:v>9309759</c:v>
                </c:pt>
                <c:pt idx="4">
                  <c:v>5824135</c:v>
                </c:pt>
                <c:pt idx="5">
                  <c:v>5507100</c:v>
                </c:pt>
                <c:pt idx="6">
                  <c:v>3172502</c:v>
                </c:pt>
                <c:pt idx="7">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4E490C-3269-40E0-A9C5-17B84BBB2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3EFE0A-F148-469F-AF6B-145FD0178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74B9A1-8891-4341-8676-851B79B20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8F0CD5-3AB4-48EA-87AC-8EA9CB6FF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547693-4358-4620-8674-3408D980E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60AFEE-2C57-4E99-9DD4-6666BA8C0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5D79A3-29C0-454D-91F5-B0817B07A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D486AA-EE77-4696-BCF1-66AAF85D1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99459999999999</c:v>
                </c:pt>
                <c:pt idx="1">
                  <c:v>472.61869999999999</c:v>
                </c:pt>
                <c:pt idx="2">
                  <c:v>490.36130000000003</c:v>
                </c:pt>
                <c:pt idx="3">
                  <c:v>335.14609999999999</c:v>
                </c:pt>
                <c:pt idx="4">
                  <c:v>149.61779999999999</c:v>
                </c:pt>
                <c:pt idx="5">
                  <c:v>411.84309999999999</c:v>
                </c:pt>
                <c:pt idx="6">
                  <c:v>480.03129999999999</c:v>
                </c:pt>
                <c:pt idx="7">
                  <c:v>509.36840000000001</c:v>
                </c:pt>
              </c:numCache>
            </c:numRef>
          </c:xVal>
          <c:yVal>
            <c:numRef>
              <c:f>Sheet1!$B$2:$B$9</c:f>
              <c:numCache>
                <c:formatCode>General</c:formatCode>
                <c:ptCount val="8"/>
                <c:pt idx="0">
                  <c:v>0.94599999999999995</c:v>
                </c:pt>
                <c:pt idx="1">
                  <c:v>2.399</c:v>
                </c:pt>
                <c:pt idx="2">
                  <c:v>0</c:v>
                </c:pt>
                <c:pt idx="3">
                  <c:v>0</c:v>
                </c:pt>
                <c:pt idx="4">
                  <c:v>2.0009999999999999</c:v>
                </c:pt>
                <c:pt idx="5">
                  <c:v>5.3680000000000003</c:v>
                </c:pt>
                <c:pt idx="6">
                  <c:v>0.35699999999999998</c:v>
                </c:pt>
                <c:pt idx="7">
                  <c:v>0.35299999999999998</c:v>
                </c:pt>
              </c:numCache>
            </c:numRef>
          </c:yVal>
          <c:bubbleSize>
            <c:numRef>
              <c:f>Sheet1!$C$2:$C$9</c:f>
              <c:numCache>
                <c:formatCode>General</c:formatCode>
                <c:ptCount val="8"/>
                <c:pt idx="0">
                  <c:v>103599</c:v>
                </c:pt>
                <c:pt idx="1">
                  <c:v>65694</c:v>
                </c:pt>
                <c:pt idx="2">
                  <c:v>58353</c:v>
                </c:pt>
                <c:pt idx="3">
                  <c:v>29828</c:v>
                </c:pt>
                <c:pt idx="4">
                  <c:v>23490</c:v>
                </c:pt>
                <c:pt idx="5">
                  <c:v>21004</c:v>
                </c:pt>
                <c:pt idx="6">
                  <c:v>15361</c:v>
                </c:pt>
                <c:pt idx="7">
                  <c:v>9678</c:v>
                </c:pt>
              </c:numCache>
            </c:numRef>
          </c:bubbleSize>
          <c:bubble3D val="0"/>
          <c:extLst>
            <c:ext xmlns:c15="http://schemas.microsoft.com/office/drawing/2012/chart" uri="{02D57815-91ED-43cb-92C2-25804820EDAC}">
              <c15:datalabelsRange>
                <c15:f>Sheet1!$E$2:$E$10</c15:f>
                <c15:dlblRangeCache>
                  <c:ptCount val="9"/>
                  <c:pt idx="0">
                    <c:v>Eclipsol</c:v>
                  </c:pt>
                  <c:pt idx="1">
                    <c:v>Eucerin</c:v>
                  </c:pt>
                  <c:pt idx="2">
                    <c:v>Avene</c:v>
                  </c:pt>
                  <c:pt idx="3">
                    <c:v>La Roche-Posay</c:v>
                  </c:pt>
                  <c:pt idx="4">
                    <c:v>Neutrogena</c:v>
                  </c:pt>
                  <c:pt idx="5">
                    <c:v>Vichy</c:v>
                  </c:pt>
                  <c:pt idx="6">
                    <c:v>Nivea</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2"/>
          <c:min val="1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6F6BEC-5703-4B79-95AF-4C59C44C2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DD3DD4-B147-496A-BD8E-CC8317325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725A06-4665-4FCF-A240-89F897626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F01515-EFB8-450F-BAC3-6DF1F16DD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55C2DD7-CBEF-41CE-9FEC-52A0CB392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31CD546-F92B-4593-9195-2C0EC508A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1D7E55F-E3AD-4B37-BAAC-B59D70E48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BD209E-5B1D-4088-B270-F3693510A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6.13529999999997</c:v>
                </c:pt>
                <c:pt idx="1">
                  <c:v>250.9359</c:v>
                </c:pt>
                <c:pt idx="2">
                  <c:v>214.3</c:v>
                </c:pt>
                <c:pt idx="3">
                  <c:v>270.09620000000001</c:v>
                </c:pt>
              </c:numCache>
            </c:numRef>
          </c:xVal>
          <c:yVal>
            <c:numRef>
              <c:f>Sheet1!$B$2:$B$5</c:f>
              <c:numCache>
                <c:formatCode>General</c:formatCode>
                <c:ptCount val="4"/>
                <c:pt idx="0">
                  <c:v>0.98899999999999999</c:v>
                </c:pt>
                <c:pt idx="1">
                  <c:v>1.105</c:v>
                </c:pt>
                <c:pt idx="2">
                  <c:v>0.79200000000000004</c:v>
                </c:pt>
                <c:pt idx="3">
                  <c:v>1.3620000000000001</c:v>
                </c:pt>
              </c:numCache>
            </c:numRef>
          </c:yVal>
          <c:bubbleSize>
            <c:numRef>
              <c:f>Sheet1!$C$2:$C$5</c:f>
              <c:numCache>
                <c:formatCode>General</c:formatCode>
                <c:ptCount val="4"/>
                <c:pt idx="0">
                  <c:v>1704863</c:v>
                </c:pt>
                <c:pt idx="1">
                  <c:v>1323185</c:v>
                </c:pt>
                <c:pt idx="2">
                  <c:v>413599</c:v>
                </c:pt>
                <c:pt idx="3">
                  <c:v>143151</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1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A6AACA-E6C7-4769-97E1-E4043159D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2AB9BF-DAAB-41A2-9C86-F4A1FC2AC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EBCC62-422E-44CF-8915-3DA400A12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DE6B99-2544-4651-AE23-A98810F00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71F41E7-71C2-4A4E-9506-5C774E6D3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2FB00C5-916D-42E3-A244-FF8DA8AE7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39791E-E0D4-43D7-A90F-5B71C6CA6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83AFD2-8726-4C81-9750-746DEBB55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9.85</c:v>
                </c:pt>
                <c:pt idx="1">
                  <c:v>136.4699</c:v>
                </c:pt>
                <c:pt idx="2">
                  <c:v>112.9348</c:v>
                </c:pt>
                <c:pt idx="3">
                  <c:v>250.0581</c:v>
                </c:pt>
              </c:numCache>
            </c:numRef>
          </c:xVal>
          <c:yVal>
            <c:numRef>
              <c:f>Sheet1!$B$2:$B$5</c:f>
              <c:numCache>
                <c:formatCode>General</c:formatCode>
                <c:ptCount val="4"/>
                <c:pt idx="0">
                  <c:v>1.2230000000000001</c:v>
                </c:pt>
                <c:pt idx="1">
                  <c:v>0.745</c:v>
                </c:pt>
                <c:pt idx="2">
                  <c:v>0.97399999999999998</c:v>
                </c:pt>
                <c:pt idx="3">
                  <c:v>3.0339999999999998</c:v>
                </c:pt>
              </c:numCache>
            </c:numRef>
          </c:yVal>
          <c:bubbleSize>
            <c:numRef>
              <c:f>Sheet1!$C$2:$C$5</c:f>
              <c:numCache>
                <c:formatCode>General</c:formatCode>
                <c:ptCount val="4"/>
                <c:pt idx="0">
                  <c:v>1178419</c:v>
                </c:pt>
                <c:pt idx="1">
                  <c:v>940414</c:v>
                </c:pt>
                <c:pt idx="2">
                  <c:v>567949</c:v>
                </c:pt>
                <c:pt idx="3">
                  <c:v>38759</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FE9C20-41D3-4249-BFA7-469BEDF73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0CBDFC-CEAA-4A57-ACFE-33E5F09ED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119BDC-4056-4F1C-8BC9-1265C7538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185C4D-D7BC-402D-8D5A-31873A535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4B8A65-194C-4F0E-B8AD-8718D044C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C64A11-C30B-44BC-AB7A-027ADD7F8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5B0C581-C2D3-4E90-B84F-2A6EBF0EF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924D58-B984-4083-9574-DD24391AB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0453</c:v>
                </c:pt>
                <c:pt idx="1">
                  <c:v>209.34389999999999</c:v>
                </c:pt>
                <c:pt idx="2">
                  <c:v>225.2062</c:v>
                </c:pt>
                <c:pt idx="3">
                  <c:v>576.40459999999996</c:v>
                </c:pt>
                <c:pt idx="4">
                  <c:v>291.35789999999997</c:v>
                </c:pt>
                <c:pt idx="5">
                  <c:v>87.380099999999999</c:v>
                </c:pt>
                <c:pt idx="6">
                  <c:v>560.57960000000003</c:v>
                </c:pt>
                <c:pt idx="7">
                  <c:v>206.30250000000001</c:v>
                </c:pt>
              </c:numCache>
            </c:numRef>
          </c:xVal>
          <c:yVal>
            <c:numRef>
              <c:f>Sheet1!$B$2:$B$9</c:f>
              <c:numCache>
                <c:formatCode>General</c:formatCode>
                <c:ptCount val="8"/>
                <c:pt idx="0">
                  <c:v>1.008</c:v>
                </c:pt>
                <c:pt idx="1">
                  <c:v>0.71899999999999997</c:v>
                </c:pt>
                <c:pt idx="2">
                  <c:v>0.71899999999999997</c:v>
                </c:pt>
                <c:pt idx="3">
                  <c:v>3.8879999999999999</c:v>
                </c:pt>
                <c:pt idx="4">
                  <c:v>1.913</c:v>
                </c:pt>
                <c:pt idx="5">
                  <c:v>0.40600000000000003</c:v>
                </c:pt>
                <c:pt idx="6">
                  <c:v>6.1710000000000003</c:v>
                </c:pt>
                <c:pt idx="7">
                  <c:v>2.3839999999999999</c:v>
                </c:pt>
              </c:numCache>
            </c:numRef>
          </c:yVal>
          <c:bubbleSize>
            <c:numRef>
              <c:f>Sheet1!$C$2:$C$9</c:f>
              <c:numCache>
                <c:formatCode>General</c:formatCode>
                <c:ptCount val="8"/>
                <c:pt idx="0">
                  <c:v>462155258</c:v>
                </c:pt>
                <c:pt idx="1">
                  <c:v>245682239</c:v>
                </c:pt>
                <c:pt idx="2">
                  <c:v>163452614</c:v>
                </c:pt>
                <c:pt idx="3">
                  <c:v>105220346</c:v>
                </c:pt>
                <c:pt idx="4">
                  <c:v>101346207</c:v>
                </c:pt>
                <c:pt idx="5">
                  <c:v>48849248</c:v>
                </c:pt>
                <c:pt idx="6">
                  <c:v>41745239</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2"/>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E1E8EF-35F6-4094-885A-7A529C569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D4AE39-C930-484C-9568-53C11B98C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E713C6-A1B0-4D84-96D7-C07C9A55B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B6215F-BCD2-4B0E-ADF1-0B1EDAE3C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A19877-B584-4E69-9731-15F5967D9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34D5D1-EF4F-4424-8A08-0A6E71C33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9757807-97F2-458E-A486-83ED40F0C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B19B1BD-5FF8-4F38-B09E-FCB9F167D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07079999999996</c:v>
                </c:pt>
                <c:pt idx="1">
                  <c:v>268.97649999999999</c:v>
                </c:pt>
                <c:pt idx="2">
                  <c:v>459.30149999999998</c:v>
                </c:pt>
                <c:pt idx="3">
                  <c:v>476.96530000000001</c:v>
                </c:pt>
                <c:pt idx="4">
                  <c:v>184.42080000000001</c:v>
                </c:pt>
                <c:pt idx="5">
                  <c:v>336.36070000000001</c:v>
                </c:pt>
              </c:numCache>
            </c:numRef>
          </c:xVal>
          <c:yVal>
            <c:numRef>
              <c:f>Sheet1!$B$2:$B$7</c:f>
              <c:numCache>
                <c:formatCode>General</c:formatCode>
                <c:ptCount val="6"/>
                <c:pt idx="0">
                  <c:v>3.089</c:v>
                </c:pt>
                <c:pt idx="1">
                  <c:v>0.67300000000000004</c:v>
                </c:pt>
                <c:pt idx="2">
                  <c:v>2.2429999999999999</c:v>
                </c:pt>
                <c:pt idx="3">
                  <c:v>6.548</c:v>
                </c:pt>
                <c:pt idx="4">
                  <c:v>0.37</c:v>
                </c:pt>
                <c:pt idx="5">
                  <c:v>5.226</c:v>
                </c:pt>
              </c:numCache>
            </c:numRef>
          </c:yVal>
          <c:bubbleSize>
            <c:numRef>
              <c:f>Sheet1!$C$2:$C$7</c:f>
              <c:numCache>
                <c:formatCode>General</c:formatCode>
                <c:ptCount val="6"/>
                <c:pt idx="0">
                  <c:v>2911564</c:v>
                </c:pt>
                <c:pt idx="1">
                  <c:v>1397064</c:v>
                </c:pt>
                <c:pt idx="2">
                  <c:v>953510</c:v>
                </c:pt>
                <c:pt idx="3">
                  <c:v>741204</c:v>
                </c:pt>
                <c:pt idx="4">
                  <c:v>316835</c:v>
                </c:pt>
                <c:pt idx="5">
                  <c:v>229398</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
          <c:min val="14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83EB9AB-CA3E-4209-8C28-D2456C555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EB5D283F-EA91-4E22-AC01-569D311BC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D467007-53B2-48F2-A393-777412852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E6EA9E0F-47BE-42B3-A021-32FF9D4E5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6A7D42AC-61A2-4955-BEE6-13354E261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86D2F479-D065-4176-BA7C-0824E9719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A8E83364-DF89-4EE3-993A-C83EEAD8D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7F3B7AAE-E633-436B-8823-23258E445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1.01689999999999</c:v>
                </c:pt>
                <c:pt idx="1">
                  <c:v>135.572</c:v>
                </c:pt>
                <c:pt idx="2">
                  <c:v>117.3258</c:v>
                </c:pt>
                <c:pt idx="3">
                  <c:v>54.368899999999996</c:v>
                </c:pt>
              </c:numCache>
            </c:numRef>
          </c:xVal>
          <c:yVal>
            <c:numRef>
              <c:f>Sheet1!$B$2:$B$5</c:f>
              <c:numCache>
                <c:formatCode>General</c:formatCode>
                <c:ptCount val="4"/>
                <c:pt idx="0">
                  <c:v>1.3120000000000001</c:v>
                </c:pt>
                <c:pt idx="1">
                  <c:v>0.79</c:v>
                </c:pt>
                <c:pt idx="2">
                  <c:v>1.079</c:v>
                </c:pt>
                <c:pt idx="3">
                  <c:v>0.42099999999999999</c:v>
                </c:pt>
              </c:numCache>
            </c:numRef>
          </c:yVal>
          <c:bubbleSize>
            <c:numRef>
              <c:f>Sheet1!$C$2:$C$5</c:f>
              <c:numCache>
                <c:formatCode>General</c:formatCode>
                <c:ptCount val="4"/>
                <c:pt idx="0">
                  <c:v>1738558</c:v>
                </c:pt>
                <c:pt idx="1">
                  <c:v>1670789</c:v>
                </c:pt>
                <c:pt idx="2">
                  <c:v>903761</c:v>
                </c:pt>
                <c:pt idx="3">
                  <c:v>53499</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Caribbean Beach</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5"/>
          <c:min val="4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B51052-553E-4828-8336-DC0A70440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F01ED6-0140-43DE-8136-AFD2DAAC0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04F606-73EB-4A6C-9D0C-C03CDB061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B34DB3-E657-4E45-A5CF-C306DECF0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254226-D23F-4C8C-B523-0D595A33C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79C912-063F-4121-B0D7-409B870D0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B051CD-4C9E-480C-91BE-9B4202AA7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D4E3802-22D3-49C5-BDBB-9742F1287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3.33459999999999</c:v>
                </c:pt>
                <c:pt idx="1">
                  <c:v>240.1936</c:v>
                </c:pt>
                <c:pt idx="2">
                  <c:v>76.3673</c:v>
                </c:pt>
                <c:pt idx="3">
                  <c:v>74.201899999999995</c:v>
                </c:pt>
                <c:pt idx="4">
                  <c:v>688.12819999999999</c:v>
                </c:pt>
                <c:pt idx="5">
                  <c:v>577.55870000000004</c:v>
                </c:pt>
                <c:pt idx="6">
                  <c:v>135.7533</c:v>
                </c:pt>
              </c:numCache>
            </c:numRef>
          </c:xVal>
          <c:yVal>
            <c:numRef>
              <c:f>Sheet1!$B$2:$B$8</c:f>
              <c:numCache>
                <c:formatCode>General</c:formatCode>
                <c:ptCount val="7"/>
                <c:pt idx="0">
                  <c:v>1.2829999999999999</c:v>
                </c:pt>
                <c:pt idx="1">
                  <c:v>1.079</c:v>
                </c:pt>
                <c:pt idx="2">
                  <c:v>0.52100000000000002</c:v>
                </c:pt>
                <c:pt idx="3">
                  <c:v>0.54900000000000004</c:v>
                </c:pt>
                <c:pt idx="4">
                  <c:v>4.0759999999999996</c:v>
                </c:pt>
                <c:pt idx="5">
                  <c:v>2.6150000000000002</c:v>
                </c:pt>
                <c:pt idx="6">
                  <c:v>0.52200000000000002</c:v>
                </c:pt>
              </c:numCache>
            </c:numRef>
          </c:yVal>
          <c:bubbleSize>
            <c:numRef>
              <c:f>Sheet1!$C$2:$C$8</c:f>
              <c:numCache>
                <c:formatCode>General</c:formatCode>
                <c:ptCount val="7"/>
                <c:pt idx="0">
                  <c:v>61277586</c:v>
                </c:pt>
                <c:pt idx="1">
                  <c:v>40429874</c:v>
                </c:pt>
                <c:pt idx="2">
                  <c:v>13143504</c:v>
                </c:pt>
                <c:pt idx="3">
                  <c:v>5378671</c:v>
                </c:pt>
                <c:pt idx="4">
                  <c:v>2039612</c:v>
                </c:pt>
                <c:pt idx="5">
                  <c:v>1819310</c:v>
                </c:pt>
                <c:pt idx="6">
                  <c:v>490341</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6"/>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036DF8-F3F3-4AD7-AB31-7FFCAAB83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A25B12-C29F-4449-AAAF-7C8F31CE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00D026-EC00-4553-A52A-2896F6801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329B17-92C2-45E6-BA94-724F78193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5DA93F-90DF-4A8A-989A-0FB2CD895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0364F6-33D3-4E87-852B-226E60E43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614F17-F064-4557-A0C5-1BF56513F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66F070-896E-4319-B5E2-646EB3C06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503</c:v>
                </c:pt>
                <c:pt idx="1">
                  <c:v>196.37209999999999</c:v>
                </c:pt>
                <c:pt idx="2">
                  <c:v>216.8486</c:v>
                </c:pt>
                <c:pt idx="3">
                  <c:v>291.04020000000003</c:v>
                </c:pt>
                <c:pt idx="4">
                  <c:v>590.76559999999995</c:v>
                </c:pt>
                <c:pt idx="5">
                  <c:v>87.442599999999999</c:v>
                </c:pt>
                <c:pt idx="6">
                  <c:v>569.71199999999999</c:v>
                </c:pt>
                <c:pt idx="7">
                  <c:v>227.98609999999999</c:v>
                </c:pt>
              </c:numCache>
            </c:numRef>
          </c:xVal>
          <c:yVal>
            <c:numRef>
              <c:f>Sheet1!$B$2:$B$9</c:f>
              <c:numCache>
                <c:formatCode>General</c:formatCode>
                <c:ptCount val="8"/>
                <c:pt idx="0">
                  <c:v>1.0029999999999999</c:v>
                </c:pt>
                <c:pt idx="1">
                  <c:v>0.71</c:v>
                </c:pt>
                <c:pt idx="2">
                  <c:v>0.68100000000000005</c:v>
                </c:pt>
                <c:pt idx="3">
                  <c:v>1.8939999999999999</c:v>
                </c:pt>
                <c:pt idx="4">
                  <c:v>3.9169999999999998</c:v>
                </c:pt>
                <c:pt idx="5">
                  <c:v>0.39300000000000002</c:v>
                </c:pt>
                <c:pt idx="6">
                  <c:v>4.8410000000000002</c:v>
                </c:pt>
                <c:pt idx="7">
                  <c:v>2.5230000000000001</c:v>
                </c:pt>
              </c:numCache>
            </c:numRef>
          </c:yVal>
          <c:bubbleSize>
            <c:numRef>
              <c:f>Sheet1!$C$2:$C$9</c:f>
              <c:numCache>
                <c:formatCode>General</c:formatCode>
                <c:ptCount val="8"/>
                <c:pt idx="0">
                  <c:v>98282653</c:v>
                </c:pt>
                <c:pt idx="1">
                  <c:v>54081083</c:v>
                </c:pt>
                <c:pt idx="2">
                  <c:v>32135440</c:v>
                </c:pt>
                <c:pt idx="3">
                  <c:v>28036189</c:v>
                </c:pt>
                <c:pt idx="4">
                  <c:v>24994112</c:v>
                </c:pt>
                <c:pt idx="5">
                  <c:v>10334315</c:v>
                </c:pt>
                <c:pt idx="6">
                  <c:v>8938211</c:v>
                </c:pt>
                <c:pt idx="7">
                  <c:v>30176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B081EF-BA5E-42B8-A267-CE68989EF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495B15-4065-4034-9B85-E7D7EE58D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5DF920-DA53-45D1-BAFB-CFA955546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0C7F8A-36EE-4C46-A712-8F91C3347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1EE7A6-D769-40B4-9CE6-A169C2C67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BA521B-4751-4C29-8101-0CCA8916E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0E3A47-1F0F-4B28-81A4-0987054B7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9CADEBD-D44E-4251-B629-6A9F870AD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0.5</c:v>
                </c:pt>
                <c:pt idx="1">
                  <c:v>270.68920000000003</c:v>
                </c:pt>
                <c:pt idx="2">
                  <c:v>504.26330000000002</c:v>
                </c:pt>
                <c:pt idx="3">
                  <c:v>542.40380000000005</c:v>
                </c:pt>
                <c:pt idx="4">
                  <c:v>169.7456</c:v>
                </c:pt>
                <c:pt idx="5">
                  <c:v>852.34209999999996</c:v>
                </c:pt>
              </c:numCache>
            </c:numRef>
          </c:xVal>
          <c:yVal>
            <c:numRef>
              <c:f>Sheet1!$B$2:$B$7</c:f>
              <c:numCache>
                <c:formatCode>General</c:formatCode>
                <c:ptCount val="6"/>
                <c:pt idx="0">
                  <c:v>4.59</c:v>
                </c:pt>
                <c:pt idx="1">
                  <c:v>0.71599999999999997</c:v>
                </c:pt>
                <c:pt idx="2">
                  <c:v>2.9</c:v>
                </c:pt>
                <c:pt idx="3">
                  <c:v>10.904999999999999</c:v>
                </c:pt>
                <c:pt idx="4">
                  <c:v>0.36499999999999999</c:v>
                </c:pt>
                <c:pt idx="5">
                  <c:v>0</c:v>
                </c:pt>
              </c:numCache>
            </c:numRef>
          </c:yVal>
          <c:bubbleSize>
            <c:numRef>
              <c:f>Sheet1!$C$2:$C$7</c:f>
              <c:numCache>
                <c:formatCode>General</c:formatCode>
                <c:ptCount val="6"/>
                <c:pt idx="0">
                  <c:v>484737</c:v>
                </c:pt>
                <c:pt idx="1">
                  <c:v>296134</c:v>
                </c:pt>
                <c:pt idx="2">
                  <c:v>237508</c:v>
                </c:pt>
                <c:pt idx="3">
                  <c:v>141025</c:v>
                </c:pt>
                <c:pt idx="4">
                  <c:v>48038</c:v>
                </c:pt>
                <c:pt idx="5">
                  <c:v>32389</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23"/>
          <c:min val="13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C46F35-755D-4CDD-8677-C2F061C5F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DB76B2-62DF-4491-8074-CE3BB31EF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6B0A71-041B-4F0A-BDC9-FDC7879C8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A6337A-1F68-402F-871B-9D8CF4B91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11B7C5-DF35-46C5-BC68-D284B0299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E8A98A-C6B0-4BB5-9703-2EE42C7CD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408A18-3D52-4639-8AAD-50155FD2B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FA9B72-358C-49E5-B3C2-897DE9E49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8.85989999999998</c:v>
                </c:pt>
                <c:pt idx="1">
                  <c:v>239.55940000000001</c:v>
                </c:pt>
                <c:pt idx="2">
                  <c:v>74.983099999999993</c:v>
                </c:pt>
                <c:pt idx="3">
                  <c:v>74.660899999999998</c:v>
                </c:pt>
                <c:pt idx="4">
                  <c:v>741.24130000000002</c:v>
                </c:pt>
                <c:pt idx="5">
                  <c:v>569.50909999999999</c:v>
                </c:pt>
                <c:pt idx="6">
                  <c:v>560.73360000000002</c:v>
                </c:pt>
                <c:pt idx="7">
                  <c:v>137.1001</c:v>
                </c:pt>
              </c:numCache>
            </c:numRef>
          </c:xVal>
          <c:yVal>
            <c:numRef>
              <c:f>Sheet1!$B$2:$B$9</c:f>
              <c:numCache>
                <c:formatCode>General</c:formatCode>
                <c:ptCount val="8"/>
                <c:pt idx="0">
                  <c:v>1.2949999999999999</c:v>
                </c:pt>
                <c:pt idx="1">
                  <c:v>1.099</c:v>
                </c:pt>
                <c:pt idx="2">
                  <c:v>0.51600000000000001</c:v>
                </c:pt>
                <c:pt idx="3">
                  <c:v>0.56000000000000005</c:v>
                </c:pt>
                <c:pt idx="4">
                  <c:v>4.4420000000000002</c:v>
                </c:pt>
                <c:pt idx="5">
                  <c:v>2.5289999999999999</c:v>
                </c:pt>
                <c:pt idx="6">
                  <c:v>2.6579999999999999</c:v>
                </c:pt>
                <c:pt idx="7">
                  <c:v>0.52500000000000002</c:v>
                </c:pt>
              </c:numCache>
            </c:numRef>
          </c:yVal>
          <c:bubbleSize>
            <c:numRef>
              <c:f>Sheet1!$C$2:$C$9</c:f>
              <c:numCache>
                <c:formatCode>General</c:formatCode>
                <c:ptCount val="8"/>
                <c:pt idx="0">
                  <c:v>12991918</c:v>
                </c:pt>
                <c:pt idx="1">
                  <c:v>7281167</c:v>
                </c:pt>
                <c:pt idx="2">
                  <c:v>2686718</c:v>
                </c:pt>
                <c:pt idx="3">
                  <c:v>1376673</c:v>
                </c:pt>
                <c:pt idx="4">
                  <c:v>405459</c:v>
                </c:pt>
                <c:pt idx="5">
                  <c:v>343414</c:v>
                </c:pt>
                <c:pt idx="6">
                  <c:v>298871</c:v>
                </c:pt>
                <c:pt idx="7">
                  <c:v>154786</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Eucerin</c:v>
                  </c:pt>
                  <c:pt idx="7">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9"/>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FC7840-F5D7-499A-923A-2E91ABFE5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E822FF-4916-49EE-8441-41F8D17A8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2E9DF4-08D7-494D-B0A8-1E93115BA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1BEB62-2A64-4475-BB15-46F7C36E0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B54FBC-3295-43A4-B265-131A7E681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39A343-BD02-47C4-B0ED-5AB7D2A0D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B89C76-6858-46E0-BAB3-1741D782C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9A59A9-D3E3-43FC-9CD0-5CEA55B6A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49</c:v>
                </c:pt>
                <c:pt idx="1">
                  <c:v>551.78729999999996</c:v>
                </c:pt>
                <c:pt idx="2">
                  <c:v>195.22649999999999</c:v>
                </c:pt>
                <c:pt idx="3">
                  <c:v>196.30840000000001</c:v>
                </c:pt>
                <c:pt idx="4">
                  <c:v>544.46720000000005</c:v>
                </c:pt>
                <c:pt idx="5">
                  <c:v>293.06799999999998</c:v>
                </c:pt>
                <c:pt idx="6">
                  <c:v>574.80970000000002</c:v>
                </c:pt>
                <c:pt idx="7">
                  <c:v>220.01349999999999</c:v>
                </c:pt>
              </c:numCache>
            </c:numRef>
          </c:xVal>
          <c:yVal>
            <c:numRef>
              <c:f>Sheet1!$B$2:$B$9</c:f>
              <c:numCache>
                <c:formatCode>General</c:formatCode>
                <c:ptCount val="8"/>
                <c:pt idx="0">
                  <c:v>0.86899999999999999</c:v>
                </c:pt>
                <c:pt idx="1">
                  <c:v>3.2410000000000001</c:v>
                </c:pt>
                <c:pt idx="2">
                  <c:v>0.56299999999999994</c:v>
                </c:pt>
                <c:pt idx="3">
                  <c:v>0.56000000000000005</c:v>
                </c:pt>
                <c:pt idx="4">
                  <c:v>4.4269999999999996</c:v>
                </c:pt>
                <c:pt idx="5">
                  <c:v>1.5860000000000001</c:v>
                </c:pt>
                <c:pt idx="6">
                  <c:v>3.9670000000000001</c:v>
                </c:pt>
                <c:pt idx="7">
                  <c:v>2.0449999999999999</c:v>
                </c:pt>
              </c:numCache>
            </c:numRef>
          </c:yVal>
          <c:bubbleSize>
            <c:numRef>
              <c:f>Sheet1!$C$2:$C$9</c:f>
              <c:numCache>
                <c:formatCode>General</c:formatCode>
                <c:ptCount val="8"/>
                <c:pt idx="0">
                  <c:v>68580640</c:v>
                </c:pt>
                <c:pt idx="1">
                  <c:v>37358209</c:v>
                </c:pt>
                <c:pt idx="2">
                  <c:v>32245369</c:v>
                </c:pt>
                <c:pt idx="3">
                  <c:v>24731918</c:v>
                </c:pt>
                <c:pt idx="4">
                  <c:v>19616609</c:v>
                </c:pt>
                <c:pt idx="5">
                  <c:v>19334577</c:v>
                </c:pt>
                <c:pt idx="6">
                  <c:v>12419913</c:v>
                </c:pt>
                <c:pt idx="7">
                  <c:v>191719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Banana Boat</c:v>
                  </c:pt>
                  <c:pt idx="4">
                    <c:v>La Roche-Posay</c:v>
                  </c:pt>
                  <c:pt idx="5">
                    <c:v>Neutrogena</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A2C4EC-3C63-46DF-B4DB-52A84A3E9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C5ABB2-4662-4E60-9AC6-FFF099739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EF8CF1-9F96-401B-ACF6-40787575A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E7EE16-07FF-4C50-BF64-2F6AB1D23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4D17D6-7C58-4173-9651-52F6C9C45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3E72C0-7FD5-4411-BEBE-82E8F08D3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AAE7F3A-D038-420C-91D0-CEC9251B4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DAEC11-7209-406E-8DA9-E44CDBDF6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88.75829999999996</c:v>
                </c:pt>
                <c:pt idx="1">
                  <c:v>253.01519999999999</c:v>
                </c:pt>
                <c:pt idx="2">
                  <c:v>430.09399999999999</c:v>
                </c:pt>
                <c:pt idx="3">
                  <c:v>382.25119999999998</c:v>
                </c:pt>
                <c:pt idx="4">
                  <c:v>248.8271</c:v>
                </c:pt>
                <c:pt idx="5">
                  <c:v>200.51390000000001</c:v>
                </c:pt>
              </c:numCache>
            </c:numRef>
          </c:xVal>
          <c:yVal>
            <c:numRef>
              <c:f>Sheet1!$B$2:$B$7</c:f>
              <c:numCache>
                <c:formatCode>General</c:formatCode>
                <c:ptCount val="6"/>
                <c:pt idx="0">
                  <c:v>1.9330000000000001</c:v>
                </c:pt>
                <c:pt idx="1">
                  <c:v>0.58399999999999996</c:v>
                </c:pt>
                <c:pt idx="2">
                  <c:v>4.1900000000000004</c:v>
                </c:pt>
                <c:pt idx="3">
                  <c:v>1.159</c:v>
                </c:pt>
                <c:pt idx="4">
                  <c:v>2.8929999999999998</c:v>
                </c:pt>
                <c:pt idx="5">
                  <c:v>0.379</c:v>
                </c:pt>
              </c:numCache>
            </c:numRef>
          </c:yVal>
          <c:bubbleSize>
            <c:numRef>
              <c:f>Sheet1!$C$2:$C$7</c:f>
              <c:numCache>
                <c:formatCode>General</c:formatCode>
                <c:ptCount val="6"/>
                <c:pt idx="0">
                  <c:v>1205777</c:v>
                </c:pt>
                <c:pt idx="1">
                  <c:v>365860</c:v>
                </c:pt>
                <c:pt idx="2">
                  <c:v>288163</c:v>
                </c:pt>
                <c:pt idx="3">
                  <c:v>241965</c:v>
                </c:pt>
                <c:pt idx="4">
                  <c:v>113714</c:v>
                </c:pt>
                <c:pt idx="5">
                  <c:v>50329</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La Roche-Posay</c:v>
                  </c:pt>
                  <c:pt idx="3">
                    <c:v>Mustela</c:v>
                  </c:pt>
                  <c:pt idx="4">
                    <c:v>Photoderm</c:v>
                  </c:pt>
                  <c:pt idx="5">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7"/>
          <c:min val="1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2B06D4-D192-44FB-951D-1EBF91DC1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0185AB-56E8-4694-A5E1-A421ABAB6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C09908-F374-4C0F-BF82-FC12E5738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B82E7B-6769-4143-8E88-01B59ABBA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75FDBE-EF75-4291-B137-C13B01C11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A1BC0A-2D03-4BF1-BD05-ACF558DB8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419586-959D-4207-BDBA-5F4DD3ED5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16A6FC-12D4-408A-BF1E-86631648F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6.98430000000002</c:v>
                </c:pt>
                <c:pt idx="1">
                  <c:v>235.8278</c:v>
                </c:pt>
                <c:pt idx="2">
                  <c:v>73.155199999999994</c:v>
                </c:pt>
                <c:pt idx="3">
                  <c:v>74.095299999999995</c:v>
                </c:pt>
                <c:pt idx="4">
                  <c:v>632.39710000000002</c:v>
                </c:pt>
                <c:pt idx="5">
                  <c:v>565.08249999999998</c:v>
                </c:pt>
                <c:pt idx="6">
                  <c:v>558.32989999999995</c:v>
                </c:pt>
                <c:pt idx="7">
                  <c:v>148.36269999999999</c:v>
                </c:pt>
              </c:numCache>
            </c:numRef>
          </c:xVal>
          <c:yVal>
            <c:numRef>
              <c:f>Sheet1!$B$2:$B$9</c:f>
              <c:numCache>
                <c:formatCode>General</c:formatCode>
                <c:ptCount val="8"/>
                <c:pt idx="0">
                  <c:v>1.256</c:v>
                </c:pt>
                <c:pt idx="1">
                  <c:v>1.01</c:v>
                </c:pt>
                <c:pt idx="2">
                  <c:v>0.497</c:v>
                </c:pt>
                <c:pt idx="3">
                  <c:v>0.53100000000000003</c:v>
                </c:pt>
                <c:pt idx="4">
                  <c:v>3.4740000000000002</c:v>
                </c:pt>
                <c:pt idx="5">
                  <c:v>2.331</c:v>
                </c:pt>
                <c:pt idx="6">
                  <c:v>2.4609999999999999</c:v>
                </c:pt>
                <c:pt idx="7">
                  <c:v>0.61599999999999999</c:v>
                </c:pt>
              </c:numCache>
            </c:numRef>
          </c:yVal>
          <c:bubbleSize>
            <c:numRef>
              <c:f>Sheet1!$C$2:$C$9</c:f>
              <c:numCache>
                <c:formatCode>General</c:formatCode>
                <c:ptCount val="8"/>
                <c:pt idx="0">
                  <c:v>8296738</c:v>
                </c:pt>
                <c:pt idx="1">
                  <c:v>6267125</c:v>
                </c:pt>
                <c:pt idx="2">
                  <c:v>1956024</c:v>
                </c:pt>
                <c:pt idx="3">
                  <c:v>793783</c:v>
                </c:pt>
                <c:pt idx="4">
                  <c:v>694372</c:v>
                </c:pt>
                <c:pt idx="5">
                  <c:v>534003</c:v>
                </c:pt>
                <c:pt idx="6">
                  <c:v>431589</c:v>
                </c:pt>
                <c:pt idx="7">
                  <c:v>30266</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Eucerin</c:v>
                  </c:pt>
                  <c:pt idx="7">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9"/>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D2786A-2F34-4083-B607-891C9AEEF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E34279-DE63-4FF1-8462-FF2998C31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A423E6-74C2-4046-A3AB-E36992A19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B8CB0A-CB96-421C-9420-186B8802E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18BE32-B8C8-42AB-83DE-EEFA41E5B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03941C-2E4E-439C-9540-33A58BF09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4FEAE2-DE00-4860-9082-B9B0F26A9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A7CDAD-EB72-41A1-8415-DBC5833A5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32640000000001</c:v>
                </c:pt>
                <c:pt idx="1">
                  <c:v>221.75829999999999</c:v>
                </c:pt>
                <c:pt idx="2">
                  <c:v>233.3937</c:v>
                </c:pt>
                <c:pt idx="3">
                  <c:v>282.05270000000002</c:v>
                </c:pt>
                <c:pt idx="4">
                  <c:v>89.042100000000005</c:v>
                </c:pt>
                <c:pt idx="5">
                  <c:v>602.82489999999996</c:v>
                </c:pt>
                <c:pt idx="6">
                  <c:v>73.962599999999995</c:v>
                </c:pt>
                <c:pt idx="7">
                  <c:v>156.0933</c:v>
                </c:pt>
              </c:numCache>
            </c:numRef>
          </c:xVal>
          <c:yVal>
            <c:numRef>
              <c:f>Sheet1!$B$2:$B$9</c:f>
              <c:numCache>
                <c:formatCode>General</c:formatCode>
                <c:ptCount val="8"/>
                <c:pt idx="0">
                  <c:v>1.109</c:v>
                </c:pt>
                <c:pt idx="1">
                  <c:v>0.82699999999999996</c:v>
                </c:pt>
                <c:pt idx="2">
                  <c:v>0.85899999999999999</c:v>
                </c:pt>
                <c:pt idx="3">
                  <c:v>2.0169999999999999</c:v>
                </c:pt>
                <c:pt idx="4">
                  <c:v>0.47599999999999998</c:v>
                </c:pt>
                <c:pt idx="5">
                  <c:v>4.6440000000000001</c:v>
                </c:pt>
                <c:pt idx="6">
                  <c:v>0.433</c:v>
                </c:pt>
                <c:pt idx="7">
                  <c:v>2.1760000000000002</c:v>
                </c:pt>
              </c:numCache>
            </c:numRef>
          </c:yVal>
          <c:bubbleSize>
            <c:numRef>
              <c:f>Sheet1!$C$2:$C$9</c:f>
              <c:numCache>
                <c:formatCode>General</c:formatCode>
                <c:ptCount val="8"/>
                <c:pt idx="0">
                  <c:v>94584130</c:v>
                </c:pt>
                <c:pt idx="1">
                  <c:v>45779791</c:v>
                </c:pt>
                <c:pt idx="2">
                  <c:v>27044258</c:v>
                </c:pt>
                <c:pt idx="3">
                  <c:v>13126731</c:v>
                </c:pt>
                <c:pt idx="4">
                  <c:v>8014855</c:v>
                </c:pt>
                <c:pt idx="5">
                  <c:v>3622375</c:v>
                </c:pt>
                <c:pt idx="6">
                  <c:v>2439508</c:v>
                </c:pt>
                <c:pt idx="7">
                  <c:v>223447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Caribbean Beach</c:v>
                  </c:pt>
                  <c:pt idx="5">
                    <c:v>Isdin</c:v>
                  </c:pt>
                  <c:pt idx="6">
                    <c:v>Nuve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3"/>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2D577B-3DB6-4839-8D71-C6E19617E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1A0D64-001D-41EA-9EF2-0BCB13377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26716A-B2CC-46F1-BC51-0FE76B2EE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D32455-E7B0-47FA-AB44-61A72F052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BF70A6-F7F4-4A38-8946-BC4113538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054F56-A11F-4DAD-92E3-2C2DA6C07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CD67AF1-35F9-4875-AEE9-703E363A5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025D7E-F26D-4BD5-AADB-C8E2F6E2E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60.14520000000005</c:v>
                </c:pt>
                <c:pt idx="1">
                  <c:v>300.12</c:v>
                </c:pt>
                <c:pt idx="2">
                  <c:v>488.16430000000003</c:v>
                </c:pt>
                <c:pt idx="3">
                  <c:v>210.37819999999999</c:v>
                </c:pt>
                <c:pt idx="4">
                  <c:v>527.05560000000003</c:v>
                </c:pt>
              </c:numCache>
            </c:numRef>
          </c:xVal>
          <c:yVal>
            <c:numRef>
              <c:f>Sheet1!$B$2:$B$6</c:f>
              <c:numCache>
                <c:formatCode>General</c:formatCode>
                <c:ptCount val="5"/>
                <c:pt idx="0">
                  <c:v>13.773999999999999</c:v>
                </c:pt>
                <c:pt idx="1">
                  <c:v>0.77800000000000002</c:v>
                </c:pt>
                <c:pt idx="2">
                  <c:v>2.734</c:v>
                </c:pt>
                <c:pt idx="3">
                  <c:v>0.49299999999999999</c:v>
                </c:pt>
                <c:pt idx="4">
                  <c:v>0</c:v>
                </c:pt>
              </c:numCache>
            </c:numRef>
          </c:yVal>
          <c:bubbleSize>
            <c:numRef>
              <c:f>Sheet1!$C$2:$C$6</c:f>
              <c:numCache>
                <c:formatCode>General</c:formatCode>
                <c:ptCount val="5"/>
                <c:pt idx="0">
                  <c:v>163716</c:v>
                </c:pt>
                <c:pt idx="1">
                  <c:v>127551</c:v>
                </c:pt>
                <c:pt idx="2">
                  <c:v>103979</c:v>
                </c:pt>
                <c:pt idx="3">
                  <c:v>32819</c:v>
                </c:pt>
                <c:pt idx="4">
                  <c:v>9487</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Hawaiian Tropic</c:v>
                  </c:pt>
                  <c:pt idx="4">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92"/>
          <c:min val="1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8B1FB8-502D-4C44-8E87-52CD41F84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30CF81-FD31-4736-9932-B6DDA3406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DE1F0B-AD93-4EC1-BA8D-DBCD4FFCA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C769E5-F547-4055-8E36-EBA91AB1E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E40A35-2425-4E26-A3C8-00BD604DD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C73CB4-3349-45F9-B0FD-203B1A182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C39DAD8-9C79-4E28-A55D-9209211E9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E1934AC-4CCF-46FD-8C44-15587F948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17830000000001</c:v>
                </c:pt>
                <c:pt idx="1">
                  <c:v>217.6095</c:v>
                </c:pt>
                <c:pt idx="2">
                  <c:v>81.765600000000006</c:v>
                </c:pt>
                <c:pt idx="3">
                  <c:v>72.943399999999997</c:v>
                </c:pt>
                <c:pt idx="4">
                  <c:v>310.0258</c:v>
                </c:pt>
                <c:pt idx="5">
                  <c:v>125.9365</c:v>
                </c:pt>
              </c:numCache>
            </c:numRef>
          </c:xVal>
          <c:yVal>
            <c:numRef>
              <c:f>Sheet1!$B$2:$B$7</c:f>
              <c:numCache>
                <c:formatCode>General</c:formatCode>
                <c:ptCount val="6"/>
                <c:pt idx="0">
                  <c:v>1.3109999999999999</c:v>
                </c:pt>
                <c:pt idx="1">
                  <c:v>1.046</c:v>
                </c:pt>
                <c:pt idx="2">
                  <c:v>0.53300000000000003</c:v>
                </c:pt>
                <c:pt idx="3">
                  <c:v>0.57299999999999995</c:v>
                </c:pt>
                <c:pt idx="4">
                  <c:v>1.702</c:v>
                </c:pt>
                <c:pt idx="5">
                  <c:v>0.51400000000000001</c:v>
                </c:pt>
              </c:numCache>
            </c:numRef>
          </c:yVal>
          <c:bubbleSize>
            <c:numRef>
              <c:f>Sheet1!$C$2:$C$7</c:f>
              <c:numCache>
                <c:formatCode>General</c:formatCode>
                <c:ptCount val="6"/>
                <c:pt idx="0">
                  <c:v>12335062</c:v>
                </c:pt>
                <c:pt idx="1">
                  <c:v>6660591</c:v>
                </c:pt>
                <c:pt idx="2">
                  <c:v>2139478</c:v>
                </c:pt>
                <c:pt idx="3">
                  <c:v>763280</c:v>
                </c:pt>
                <c:pt idx="4">
                  <c:v>288634</c:v>
                </c:pt>
                <c:pt idx="5">
                  <c:v>73421</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Australian Gold</c:v>
                  </c:pt>
                  <c:pt idx="5">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2"/>
          <c:min val="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6B9A93-EC0F-4347-B7F3-093C21CAD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E2B529-5D46-49D3-86E2-69B2120DE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E41A87-3575-4CDE-B536-23CBBB753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1B991E-BCBE-4E9A-9034-4C563A3B5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4B92F9-8893-4DD4-BB82-844A2BF1B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99B818-E87A-4374-A7CA-B6A41FC99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947E31-FD27-4111-BB80-6D39C3440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6E5A36-E425-4202-8BAF-33A7254DC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6602</c:v>
                </c:pt>
                <c:pt idx="1">
                  <c:v>552.87279999999998</c:v>
                </c:pt>
                <c:pt idx="2">
                  <c:v>195.17679999999999</c:v>
                </c:pt>
                <c:pt idx="3">
                  <c:v>203.66030000000001</c:v>
                </c:pt>
                <c:pt idx="4">
                  <c:v>544.99419999999998</c:v>
                </c:pt>
                <c:pt idx="5">
                  <c:v>293.06799999999998</c:v>
                </c:pt>
                <c:pt idx="6">
                  <c:v>574.2405</c:v>
                </c:pt>
                <c:pt idx="7">
                  <c:v>220.01349999999999</c:v>
                </c:pt>
              </c:numCache>
            </c:numRef>
          </c:xVal>
          <c:yVal>
            <c:numRef>
              <c:f>Sheet1!$B$2:$B$9</c:f>
              <c:numCache>
                <c:formatCode>General</c:formatCode>
                <c:ptCount val="8"/>
                <c:pt idx="0">
                  <c:v>0.89500000000000002</c:v>
                </c:pt>
                <c:pt idx="1">
                  <c:v>3.38</c:v>
                </c:pt>
                <c:pt idx="2">
                  <c:v>0.59399999999999997</c:v>
                </c:pt>
                <c:pt idx="3">
                  <c:v>0.59399999999999997</c:v>
                </c:pt>
                <c:pt idx="4">
                  <c:v>4.4909999999999997</c:v>
                </c:pt>
                <c:pt idx="5">
                  <c:v>1.6759999999999999</c:v>
                </c:pt>
                <c:pt idx="6">
                  <c:v>3.9430000000000001</c:v>
                </c:pt>
                <c:pt idx="7">
                  <c:v>2.161</c:v>
                </c:pt>
              </c:numCache>
            </c:numRef>
          </c:yVal>
          <c:bubbleSize>
            <c:numRef>
              <c:f>Sheet1!$C$2:$C$9</c:f>
              <c:numCache>
                <c:formatCode>General</c:formatCode>
                <c:ptCount val="8"/>
                <c:pt idx="0">
                  <c:v>76877378</c:v>
                </c:pt>
                <c:pt idx="1">
                  <c:v>38563986</c:v>
                </c:pt>
                <c:pt idx="2">
                  <c:v>32325964</c:v>
                </c:pt>
                <c:pt idx="3">
                  <c:v>31364903</c:v>
                </c:pt>
                <c:pt idx="4">
                  <c:v>20599144</c:v>
                </c:pt>
                <c:pt idx="5">
                  <c:v>19334577</c:v>
                </c:pt>
                <c:pt idx="6">
                  <c:v>12851502</c:v>
                </c:pt>
                <c:pt idx="7">
                  <c:v>191719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Banana Boat</c:v>
                  </c:pt>
                  <c:pt idx="4">
                    <c:v>La Roche-Posay</c:v>
                  </c:pt>
                  <c:pt idx="5">
                    <c:v>Neutrogena</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9"/>
          <c:min val="15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0D97C2-5FDE-4732-8C87-C10E946BC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433267-17BF-4194-A6D7-EE9CE7523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15F502-5E75-458B-AE77-D8720463D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DC92B7-D0C2-4E75-ABC5-CA960ECA9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1513C5-4D23-4B3C-8CC2-F76956189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357386-6CCE-4E58-901D-E93A13286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044C99-D9DF-4D23-B123-4FA238FDE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E02776-8B83-4D14-AD1C-ED6BAE644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0179</c:v>
                </c:pt>
                <c:pt idx="1">
                  <c:v>211.3991</c:v>
                </c:pt>
                <c:pt idx="2">
                  <c:v>225.77189999999999</c:v>
                </c:pt>
                <c:pt idx="3">
                  <c:v>589.75840000000005</c:v>
                </c:pt>
                <c:pt idx="4">
                  <c:v>290.10489999999999</c:v>
                </c:pt>
                <c:pt idx="5">
                  <c:v>87.547899999999998</c:v>
                </c:pt>
                <c:pt idx="6">
                  <c:v>592.57079999999996</c:v>
                </c:pt>
                <c:pt idx="7">
                  <c:v>214.86019999999999</c:v>
                </c:pt>
              </c:numCache>
            </c:numRef>
          </c:xVal>
          <c:yVal>
            <c:numRef>
              <c:f>Sheet1!$B$2:$B$9</c:f>
              <c:numCache>
                <c:formatCode>General</c:formatCode>
                <c:ptCount val="8"/>
                <c:pt idx="0">
                  <c:v>1.0189999999999999</c:v>
                </c:pt>
                <c:pt idx="1">
                  <c:v>0.72799999999999998</c:v>
                </c:pt>
                <c:pt idx="2">
                  <c:v>0.71</c:v>
                </c:pt>
                <c:pt idx="3">
                  <c:v>3.7629999999999999</c:v>
                </c:pt>
                <c:pt idx="4">
                  <c:v>1.915</c:v>
                </c:pt>
                <c:pt idx="5">
                  <c:v>0.434</c:v>
                </c:pt>
                <c:pt idx="6">
                  <c:v>5.1369999999999996</c:v>
                </c:pt>
                <c:pt idx="7">
                  <c:v>2.5649999999999999</c:v>
                </c:pt>
              </c:numCache>
            </c:numRef>
          </c:yVal>
          <c:bubbleSize>
            <c:numRef>
              <c:f>Sheet1!$C$2:$C$9</c:f>
              <c:numCache>
                <c:formatCode>General</c:formatCode>
                <c:ptCount val="8"/>
                <c:pt idx="0">
                  <c:v>77257194</c:v>
                </c:pt>
                <c:pt idx="1">
                  <c:v>38488805</c:v>
                </c:pt>
                <c:pt idx="2">
                  <c:v>24037481</c:v>
                </c:pt>
                <c:pt idx="3">
                  <c:v>17357178</c:v>
                </c:pt>
                <c:pt idx="4">
                  <c:v>16158843</c:v>
                </c:pt>
                <c:pt idx="5">
                  <c:v>9858772</c:v>
                </c:pt>
                <c:pt idx="6">
                  <c:v>6637385</c:v>
                </c:pt>
                <c:pt idx="7">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89A83D-834C-4F25-9BF4-7271FA64C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E71B0B-4715-458E-86F2-8F2F3B5BF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BC25E1-0CA0-4E16-B8F7-99B5775EF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ADC4D4-8E68-4A0E-9F71-3F571CC48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1CBC65-58E7-4D4D-BFFB-A44B6A799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02123C-9038-4A32-B0BF-FC4CC2760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9D5393-81EE-4654-A7F6-D88884EF3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98B82E-68AF-4EE1-9394-3494FD078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1.15620000000001</c:v>
                </c:pt>
                <c:pt idx="1">
                  <c:v>278.12959999999998</c:v>
                </c:pt>
                <c:pt idx="2">
                  <c:v>484.38729999999998</c:v>
                </c:pt>
                <c:pt idx="3">
                  <c:v>494.68939999999998</c:v>
                </c:pt>
                <c:pt idx="4">
                  <c:v>171.54740000000001</c:v>
                </c:pt>
                <c:pt idx="5">
                  <c:v>472.32940000000002</c:v>
                </c:pt>
              </c:numCache>
            </c:numRef>
          </c:xVal>
          <c:yVal>
            <c:numRef>
              <c:f>Sheet1!$B$2:$B$7</c:f>
              <c:numCache>
                <c:formatCode>General</c:formatCode>
                <c:ptCount val="6"/>
                <c:pt idx="0">
                  <c:v>3.9140000000000001</c:v>
                </c:pt>
                <c:pt idx="1">
                  <c:v>0.69199999999999995</c:v>
                </c:pt>
                <c:pt idx="2">
                  <c:v>2.883</c:v>
                </c:pt>
                <c:pt idx="3">
                  <c:v>8.9039999999999999</c:v>
                </c:pt>
                <c:pt idx="4">
                  <c:v>0.313</c:v>
                </c:pt>
                <c:pt idx="5">
                  <c:v>17.263999999999999</c:v>
                </c:pt>
              </c:numCache>
            </c:numRef>
          </c:yVal>
          <c:bubbleSize>
            <c:numRef>
              <c:f>Sheet1!$C$2:$C$7</c:f>
              <c:numCache>
                <c:formatCode>General</c:formatCode>
                <c:ptCount val="6"/>
                <c:pt idx="0">
                  <c:v>473321</c:v>
                </c:pt>
                <c:pt idx="1">
                  <c:v>212491</c:v>
                </c:pt>
                <c:pt idx="2">
                  <c:v>167598</c:v>
                </c:pt>
                <c:pt idx="3">
                  <c:v>144944</c:v>
                </c:pt>
                <c:pt idx="4">
                  <c:v>81485</c:v>
                </c:pt>
                <c:pt idx="5">
                  <c:v>40148</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
          <c:min val="13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685D50-EC2E-4DEA-A433-DB27081F3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4A24B5-D48C-4743-A9B5-E45CB95B1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45AC92-6929-4634-8006-84607E18F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F2652A-DF15-4D9E-8EB9-FC0CD4DF3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22A68E-9285-442C-A4AD-1786BC5E2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2165A0-8A73-49AA-99EA-83FA7BEB7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6ECE75-5C65-4810-9CD6-A74FEAEE9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4144E9-2A93-4297-BD50-AFDC34724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3.56569999999999</c:v>
                </c:pt>
                <c:pt idx="1">
                  <c:v>241.40860000000001</c:v>
                </c:pt>
                <c:pt idx="2">
                  <c:v>76.486699999999999</c:v>
                </c:pt>
                <c:pt idx="3">
                  <c:v>74.547200000000004</c:v>
                </c:pt>
                <c:pt idx="4">
                  <c:v>698.39509999999996</c:v>
                </c:pt>
                <c:pt idx="5">
                  <c:v>594.69389999999999</c:v>
                </c:pt>
                <c:pt idx="6">
                  <c:v>139.28970000000001</c:v>
                </c:pt>
              </c:numCache>
            </c:numRef>
          </c:xVal>
          <c:yVal>
            <c:numRef>
              <c:f>Sheet1!$B$2:$B$8</c:f>
              <c:numCache>
                <c:formatCode>General</c:formatCode>
                <c:ptCount val="7"/>
                <c:pt idx="0">
                  <c:v>1.288</c:v>
                </c:pt>
                <c:pt idx="1">
                  <c:v>1.079</c:v>
                </c:pt>
                <c:pt idx="2">
                  <c:v>0.54900000000000004</c:v>
                </c:pt>
                <c:pt idx="3">
                  <c:v>0.55500000000000005</c:v>
                </c:pt>
                <c:pt idx="4">
                  <c:v>4.0540000000000003</c:v>
                </c:pt>
                <c:pt idx="5">
                  <c:v>2.7639999999999998</c:v>
                </c:pt>
                <c:pt idx="6">
                  <c:v>0.53100000000000003</c:v>
                </c:pt>
              </c:numCache>
            </c:numRef>
          </c:yVal>
          <c:bubbleSize>
            <c:numRef>
              <c:f>Sheet1!$C$2:$C$8</c:f>
              <c:numCache>
                <c:formatCode>General</c:formatCode>
                <c:ptCount val="7"/>
                <c:pt idx="0">
                  <c:v>11074228</c:v>
                </c:pt>
                <c:pt idx="1">
                  <c:v>6712365</c:v>
                </c:pt>
                <c:pt idx="2">
                  <c:v>2603377</c:v>
                </c:pt>
                <c:pt idx="3">
                  <c:v>1038144</c:v>
                </c:pt>
                <c:pt idx="4">
                  <c:v>399482</c:v>
                </c:pt>
                <c:pt idx="5">
                  <c:v>349680</c:v>
                </c:pt>
                <c:pt idx="6">
                  <c:v>130793</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8"/>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A9ABDA-9EF4-4F54-B254-1AD2E117B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78D8D5-1282-49A3-A254-86E27AEDD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9CAAD9-6F0C-4059-BF56-71A38606E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24B133-CA20-4167-94D7-9817C9CDB0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E80C36-5908-4D10-AFBA-113649089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6852E6-3C64-4882-85FC-F3DF76548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B1F1B2-2091-4BF4-A82A-6C3FB896F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75DC3D-ECD3-4AE6-8593-988C752A4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64400000000001</c:v>
                </c:pt>
                <c:pt idx="1">
                  <c:v>216.98830000000001</c:v>
                </c:pt>
                <c:pt idx="2">
                  <c:v>239.3914</c:v>
                </c:pt>
                <c:pt idx="3">
                  <c:v>586.88099999999997</c:v>
                </c:pt>
                <c:pt idx="4">
                  <c:v>296.93049999999999</c:v>
                </c:pt>
                <c:pt idx="5">
                  <c:v>88.240200000000002</c:v>
                </c:pt>
                <c:pt idx="6">
                  <c:v>572.46550000000002</c:v>
                </c:pt>
                <c:pt idx="7">
                  <c:v>221.1781</c:v>
                </c:pt>
              </c:numCache>
            </c:numRef>
          </c:xVal>
          <c:yVal>
            <c:numRef>
              <c:f>Sheet1!$B$2:$B$9</c:f>
              <c:numCache>
                <c:formatCode>General</c:formatCode>
                <c:ptCount val="8"/>
                <c:pt idx="0">
                  <c:v>1.0369999999999999</c:v>
                </c:pt>
                <c:pt idx="1">
                  <c:v>0.75</c:v>
                </c:pt>
                <c:pt idx="2">
                  <c:v>0.754</c:v>
                </c:pt>
                <c:pt idx="3">
                  <c:v>3.7080000000000002</c:v>
                </c:pt>
                <c:pt idx="4">
                  <c:v>2.056</c:v>
                </c:pt>
                <c:pt idx="5">
                  <c:v>0.40699999999999997</c:v>
                </c:pt>
                <c:pt idx="6">
                  <c:v>6.4710000000000001</c:v>
                </c:pt>
                <c:pt idx="7">
                  <c:v>2.597</c:v>
                </c:pt>
              </c:numCache>
            </c:numRef>
          </c:yVal>
          <c:bubbleSize>
            <c:numRef>
              <c:f>Sheet1!$C$2:$C$9</c:f>
              <c:numCache>
                <c:formatCode>General</c:formatCode>
                <c:ptCount val="8"/>
                <c:pt idx="0">
                  <c:v>62386660</c:v>
                </c:pt>
                <c:pt idx="1">
                  <c:v>43481848</c:v>
                </c:pt>
                <c:pt idx="2">
                  <c:v>31112739</c:v>
                </c:pt>
                <c:pt idx="3">
                  <c:v>16232541</c:v>
                </c:pt>
                <c:pt idx="4">
                  <c:v>15380108</c:v>
                </c:pt>
                <c:pt idx="5">
                  <c:v>8716542</c:v>
                </c:pt>
                <c:pt idx="6">
                  <c:v>5961083</c:v>
                </c:pt>
                <c:pt idx="7">
                  <c:v>195145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4"/>
          <c:min val="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3B2EE1-6469-419C-BD00-CC2A2C9CE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87FEA4-D8A0-4293-9205-FFE26644D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7BAB85-B043-4801-AC58-7BBDDFA08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1360BC-CE25-42E0-96C4-62DC015AB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B57B9C-9142-4618-A9B9-F1ABB35C0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056491-2250-4F56-8123-409B78340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1EDC9C4-A0DB-4230-A420-848A0CFAE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45ABB33-12A1-4EAB-8697-DB54372B9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13559999999995</c:v>
                </c:pt>
                <c:pt idx="1">
                  <c:v>269.39550000000003</c:v>
                </c:pt>
                <c:pt idx="2">
                  <c:v>500.07139999999998</c:v>
                </c:pt>
                <c:pt idx="3">
                  <c:v>490.04419999999999</c:v>
                </c:pt>
                <c:pt idx="4">
                  <c:v>179.2867</c:v>
                </c:pt>
                <c:pt idx="5">
                  <c:v>368.32260000000002</c:v>
                </c:pt>
              </c:numCache>
            </c:numRef>
          </c:xVal>
          <c:yVal>
            <c:numRef>
              <c:f>Sheet1!$B$2:$B$7</c:f>
              <c:numCache>
                <c:formatCode>General</c:formatCode>
                <c:ptCount val="6"/>
                <c:pt idx="0">
                  <c:v>3.9670000000000001</c:v>
                </c:pt>
                <c:pt idx="1">
                  <c:v>0.68899999999999995</c:v>
                </c:pt>
                <c:pt idx="2">
                  <c:v>3.95</c:v>
                </c:pt>
                <c:pt idx="3">
                  <c:v>6.6929999999999996</c:v>
                </c:pt>
                <c:pt idx="4">
                  <c:v>0.36299999999999999</c:v>
                </c:pt>
                <c:pt idx="5">
                  <c:v>7.516</c:v>
                </c:pt>
              </c:numCache>
            </c:numRef>
          </c:yVal>
          <c:bubbleSize>
            <c:numRef>
              <c:f>Sheet1!$C$2:$C$7</c:f>
              <c:numCache>
                <c:formatCode>General</c:formatCode>
                <c:ptCount val="6"/>
                <c:pt idx="0">
                  <c:v>415809</c:v>
                </c:pt>
                <c:pt idx="1">
                  <c:v>215247</c:v>
                </c:pt>
                <c:pt idx="2">
                  <c:v>126018</c:v>
                </c:pt>
                <c:pt idx="3">
                  <c:v>122021</c:v>
                </c:pt>
                <c:pt idx="4">
                  <c:v>76914</c:v>
                </c:pt>
                <c:pt idx="5">
                  <c:v>34254</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
          <c:min val="1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4FD1F8-8725-4BF6-9FDE-83FA895DC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402DAB-F37D-4E36-9E5F-53C4A67C9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DDED95-A792-4381-9B9B-AC3ABE521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D2EB23-7C45-4ED8-9714-F390F8350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BFBF5E-6E6C-45F7-B1BC-B7F423314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A66165-1F4E-42BE-ABE2-CB7BEEB0E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365BB0-D0F3-4EB1-8D1F-4841FD9EC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7C499C-0D52-43A4-9BB4-037D69AEB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8802</c:v>
                </c:pt>
                <c:pt idx="1">
                  <c:v>257.74939999999998</c:v>
                </c:pt>
                <c:pt idx="2">
                  <c:v>78.932100000000005</c:v>
                </c:pt>
                <c:pt idx="3">
                  <c:v>74.726100000000002</c:v>
                </c:pt>
                <c:pt idx="4">
                  <c:v>703.94470000000001</c:v>
                </c:pt>
                <c:pt idx="5">
                  <c:v>604.1472</c:v>
                </c:pt>
                <c:pt idx="6">
                  <c:v>581.92420000000004</c:v>
                </c:pt>
                <c:pt idx="7">
                  <c:v>141.6833</c:v>
                </c:pt>
              </c:numCache>
            </c:numRef>
          </c:xVal>
          <c:yVal>
            <c:numRef>
              <c:f>Sheet1!$B$2:$B$9</c:f>
              <c:numCache>
                <c:formatCode>General</c:formatCode>
                <c:ptCount val="8"/>
                <c:pt idx="0">
                  <c:v>1.3029999999999999</c:v>
                </c:pt>
                <c:pt idx="1">
                  <c:v>1.1299999999999999</c:v>
                </c:pt>
                <c:pt idx="2">
                  <c:v>0.52400000000000002</c:v>
                </c:pt>
                <c:pt idx="3">
                  <c:v>0.54500000000000004</c:v>
                </c:pt>
                <c:pt idx="4">
                  <c:v>4.17</c:v>
                </c:pt>
                <c:pt idx="5">
                  <c:v>2.746</c:v>
                </c:pt>
                <c:pt idx="6">
                  <c:v>2.5649999999999999</c:v>
                </c:pt>
                <c:pt idx="7">
                  <c:v>0.56399999999999995</c:v>
                </c:pt>
              </c:numCache>
            </c:numRef>
          </c:yVal>
          <c:bubbleSize>
            <c:numRef>
              <c:f>Sheet1!$C$2:$C$9</c:f>
              <c:numCache>
                <c:formatCode>General</c:formatCode>
                <c:ptCount val="8"/>
                <c:pt idx="0">
                  <c:v>8828185</c:v>
                </c:pt>
                <c:pt idx="1">
                  <c:v>7927597</c:v>
                </c:pt>
                <c:pt idx="2">
                  <c:v>2649356</c:v>
                </c:pt>
                <c:pt idx="3">
                  <c:v>995501</c:v>
                </c:pt>
                <c:pt idx="4">
                  <c:v>420255</c:v>
                </c:pt>
                <c:pt idx="5">
                  <c:v>336510</c:v>
                </c:pt>
                <c:pt idx="6">
                  <c:v>238007</c:v>
                </c:pt>
                <c:pt idx="7">
                  <c:v>56815</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Eucerin</c:v>
                  </c:pt>
                  <c:pt idx="7">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9A512C-347A-409F-96D0-9DD987DD3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CE9DAA-50B7-4ABD-9B90-5BBE7F74D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B9B62B-86FB-4F8F-BD0E-1A1086864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B7217D-18D0-446C-AA49-C8C51C6D1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194F9A-6F95-492B-A702-0C17A4BDB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3F82E7-B91F-48D3-A2B4-75884A987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42650C-B6AB-4C72-BDFB-DF2B47909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8FD6C6-C44F-476F-8F80-69664E8F3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4909999999999</c:v>
                </c:pt>
                <c:pt idx="1">
                  <c:v>219.30340000000001</c:v>
                </c:pt>
                <c:pt idx="2">
                  <c:v>245.6148</c:v>
                </c:pt>
                <c:pt idx="3">
                  <c:v>295.54790000000003</c:v>
                </c:pt>
                <c:pt idx="4">
                  <c:v>599.46270000000004</c:v>
                </c:pt>
                <c:pt idx="5">
                  <c:v>84.131200000000007</c:v>
                </c:pt>
                <c:pt idx="6">
                  <c:v>553.62249999999995</c:v>
                </c:pt>
                <c:pt idx="7">
                  <c:v>222.31460000000001</c:v>
                </c:pt>
              </c:numCache>
            </c:numRef>
          </c:xVal>
          <c:yVal>
            <c:numRef>
              <c:f>Sheet1!$B$2:$B$9</c:f>
              <c:numCache>
                <c:formatCode>General</c:formatCode>
                <c:ptCount val="8"/>
                <c:pt idx="0">
                  <c:v>1.077</c:v>
                </c:pt>
                <c:pt idx="1">
                  <c:v>0.77700000000000002</c:v>
                </c:pt>
                <c:pt idx="2">
                  <c:v>0.80300000000000005</c:v>
                </c:pt>
                <c:pt idx="3">
                  <c:v>2.069</c:v>
                </c:pt>
                <c:pt idx="4">
                  <c:v>4.165</c:v>
                </c:pt>
                <c:pt idx="5">
                  <c:v>0.42399999999999999</c:v>
                </c:pt>
                <c:pt idx="6">
                  <c:v>7.5510000000000002</c:v>
                </c:pt>
                <c:pt idx="7">
                  <c:v>2.67</c:v>
                </c:pt>
              </c:numCache>
            </c:numRef>
          </c:yVal>
          <c:bubbleSize>
            <c:numRef>
              <c:f>Sheet1!$C$2:$C$9</c:f>
              <c:numCache>
                <c:formatCode>General</c:formatCode>
                <c:ptCount val="8"/>
                <c:pt idx="0">
                  <c:v>61063981</c:v>
                </c:pt>
                <c:pt idx="1">
                  <c:v>31605343</c:v>
                </c:pt>
                <c:pt idx="2">
                  <c:v>24390778</c:v>
                </c:pt>
                <c:pt idx="3">
                  <c:v>9309759</c:v>
                </c:pt>
                <c:pt idx="4">
                  <c:v>5655931</c:v>
                </c:pt>
                <c:pt idx="5">
                  <c:v>4398549</c:v>
                </c:pt>
                <c:pt idx="6">
                  <c:v>3022225</c:v>
                </c:pt>
                <c:pt idx="7">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9"/>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5F985C-F6D2-4DB0-8EE3-FDE011FC5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784FA3-0250-480A-A61D-431CC51E6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9A675B-7BD3-49AF-8BD0-3CC641998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D4B500-F9B1-4F14-B6DF-25164D800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10F28D-2CCC-4BFB-96BF-8D48647BA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378C1C-CD47-4EF7-822F-8C4D473F8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E04A7DD-96D0-436D-BB99-6F9AA48D9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F67F062-F3C6-4EA4-A25D-D0EA153D7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9.94139999999999</c:v>
                </c:pt>
                <c:pt idx="1">
                  <c:v>632.34590000000003</c:v>
                </c:pt>
                <c:pt idx="2">
                  <c:v>474.79500000000002</c:v>
                </c:pt>
                <c:pt idx="3">
                  <c:v>555.6875</c:v>
                </c:pt>
                <c:pt idx="4">
                  <c:v>219.75810000000001</c:v>
                </c:pt>
                <c:pt idx="5">
                  <c:v>988.11109999999996</c:v>
                </c:pt>
              </c:numCache>
            </c:numRef>
          </c:xVal>
          <c:yVal>
            <c:numRef>
              <c:f>Sheet1!$B$2:$B$7</c:f>
              <c:numCache>
                <c:formatCode>General</c:formatCode>
                <c:ptCount val="6"/>
                <c:pt idx="0">
                  <c:v>0.754</c:v>
                </c:pt>
                <c:pt idx="1">
                  <c:v>39.856000000000002</c:v>
                </c:pt>
                <c:pt idx="2">
                  <c:v>6.0380000000000003</c:v>
                </c:pt>
                <c:pt idx="3">
                  <c:v>0</c:v>
                </c:pt>
                <c:pt idx="4">
                  <c:v>0.56100000000000005</c:v>
                </c:pt>
                <c:pt idx="5">
                  <c:v>0</c:v>
                </c:pt>
              </c:numCache>
            </c:numRef>
          </c:yVal>
          <c:bubbleSize>
            <c:numRef>
              <c:f>Sheet1!$C$2:$C$7</c:f>
              <c:numCache>
                <c:formatCode>General</c:formatCode>
                <c:ptCount val="6"/>
                <c:pt idx="0">
                  <c:v>179781</c:v>
                </c:pt>
                <c:pt idx="1">
                  <c:v>168204</c:v>
                </c:pt>
                <c:pt idx="2">
                  <c:v>76442</c:v>
                </c:pt>
                <c:pt idx="3">
                  <c:v>35564</c:v>
                </c:pt>
                <c:pt idx="4">
                  <c:v>27250</c:v>
                </c:pt>
                <c:pt idx="5">
                  <c:v>8893</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6"/>
          <c:min val="17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D17115-9DA7-4F77-9884-BEA170767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2F1EBF-9917-46B0-B416-6BBF3E2C7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932764-3C7F-4F0C-B5A0-DD8E53CF7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52193A-7BE8-4CA7-9BF3-D682ED3A1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4E56ED-DE9E-474F-9B35-312A954E6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BCF2DC8-5887-46B6-872B-47A32B522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E96B2E3-D48A-4B8A-A505-2454BA54A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C3CFD6D-E73A-41A9-9D55-7A0D6D1A8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52.07159999999999</c:v>
                </c:pt>
                <c:pt idx="1">
                  <c:v>251.59039999999999</c:v>
                </c:pt>
                <c:pt idx="2">
                  <c:v>70.286000000000001</c:v>
                </c:pt>
                <c:pt idx="3">
                  <c:v>73.144199999999998</c:v>
                </c:pt>
                <c:pt idx="4">
                  <c:v>124.3258</c:v>
                </c:pt>
              </c:numCache>
            </c:numRef>
          </c:xVal>
          <c:yVal>
            <c:numRef>
              <c:f>Sheet1!$B$2:$B$6</c:f>
              <c:numCache>
                <c:formatCode>General</c:formatCode>
                <c:ptCount val="5"/>
                <c:pt idx="0">
                  <c:v>1.23</c:v>
                </c:pt>
                <c:pt idx="1">
                  <c:v>1.083</c:v>
                </c:pt>
                <c:pt idx="2">
                  <c:v>0.48399999999999999</c:v>
                </c:pt>
                <c:pt idx="3">
                  <c:v>0.50700000000000001</c:v>
                </c:pt>
                <c:pt idx="4">
                  <c:v>0.44</c:v>
                </c:pt>
              </c:numCache>
            </c:numRef>
          </c:yVal>
          <c:bubbleSize>
            <c:numRef>
              <c:f>Sheet1!$C$2:$C$6</c:f>
              <c:numCache>
                <c:formatCode>General</c:formatCode>
                <c:ptCount val="5"/>
                <c:pt idx="0">
                  <c:v>7751455</c:v>
                </c:pt>
                <c:pt idx="1">
                  <c:v>5581029</c:v>
                </c:pt>
                <c:pt idx="2">
                  <c:v>1108551</c:v>
                </c:pt>
                <c:pt idx="3">
                  <c:v>411290</c:v>
                </c:pt>
                <c:pt idx="4">
                  <c:v>44260</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2"/>
          <c:min val="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DBC561-80DB-4552-9FFE-D4454DA61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B833C8-419F-4139-97D6-442B2B726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CACBCB-F4A3-46BA-93D6-23EA4B28A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A36626-DEDA-4ADE-85C5-63D129B79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9918BD-607D-4E2D-88A4-F84792AEC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08118A-B9EB-4FA6-8061-8D8A4A73B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9F6F33-3980-444A-AB8E-C2E7A2492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6ED304-C88C-45A6-A972-41C2481E9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31460000000001</c:v>
                </c:pt>
                <c:pt idx="1">
                  <c:v>211.96719999999999</c:v>
                </c:pt>
                <c:pt idx="2">
                  <c:v>216.7766</c:v>
                </c:pt>
                <c:pt idx="3">
                  <c:v>89.0047</c:v>
                </c:pt>
                <c:pt idx="4">
                  <c:v>74.360500000000002</c:v>
                </c:pt>
                <c:pt idx="5">
                  <c:v>206.30250000000001</c:v>
                </c:pt>
              </c:numCache>
            </c:numRef>
          </c:xVal>
          <c:yVal>
            <c:numRef>
              <c:f>Sheet1!$B$2:$B$7</c:f>
              <c:numCache>
                <c:formatCode>General</c:formatCode>
                <c:ptCount val="6"/>
                <c:pt idx="0">
                  <c:v>1.228</c:v>
                </c:pt>
                <c:pt idx="1">
                  <c:v>0.89900000000000002</c:v>
                </c:pt>
                <c:pt idx="2">
                  <c:v>0.89</c:v>
                </c:pt>
                <c:pt idx="3">
                  <c:v>0.49399999999999999</c:v>
                </c:pt>
                <c:pt idx="4">
                  <c:v>0.45700000000000002</c:v>
                </c:pt>
                <c:pt idx="5">
                  <c:v>2.9630000000000001</c:v>
                </c:pt>
              </c:numCache>
            </c:numRef>
          </c:yVal>
          <c:bubbleSize>
            <c:numRef>
              <c:f>Sheet1!$C$2:$C$7</c:f>
              <c:numCache>
                <c:formatCode>General</c:formatCode>
                <c:ptCount val="6"/>
                <c:pt idx="0">
                  <c:v>523432960</c:v>
                </c:pt>
                <c:pt idx="1">
                  <c:v>195439881</c:v>
                </c:pt>
                <c:pt idx="2">
                  <c:v>125391144</c:v>
                </c:pt>
                <c:pt idx="3">
                  <c:v>45802720</c:v>
                </c:pt>
                <c:pt idx="4">
                  <c:v>23746346</c:v>
                </c:pt>
                <c:pt idx="5">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40C9E6A-6189-43DE-B220-B515D886E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11C3F56-902A-4B80-851D-3698C8F71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3399A07-35DB-4396-B6DF-4E3F87995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F6A467B-C66F-4692-963E-F80E2613F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A3A6EB5-FC2C-4DD2-B351-9BCDB7B33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436FA33-FD7A-4E5D-A3C1-24B429AD0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B2F7853-6001-4AF0-B64A-4307BB85C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585200F4-3B18-4259-871E-18D06A264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4.1848</c:v>
                </c:pt>
                <c:pt idx="1">
                  <c:v>451.14890000000003</c:v>
                </c:pt>
                <c:pt idx="2">
                  <c:v>292.351</c:v>
                </c:pt>
                <c:pt idx="3">
                  <c:v>398.23360000000002</c:v>
                </c:pt>
                <c:pt idx="4">
                  <c:v>277.202</c:v>
                </c:pt>
                <c:pt idx="5">
                  <c:v>444.82150000000001</c:v>
                </c:pt>
                <c:pt idx="6">
                  <c:v>247.61539999999999</c:v>
                </c:pt>
              </c:numCache>
            </c:numRef>
          </c:xVal>
          <c:yVal>
            <c:numRef>
              <c:f>Sheet1!$B$2:$B$8</c:f>
              <c:numCache>
                <c:formatCode>General</c:formatCode>
                <c:ptCount val="7"/>
                <c:pt idx="0">
                  <c:v>1.911</c:v>
                </c:pt>
                <c:pt idx="1">
                  <c:v>1.387</c:v>
                </c:pt>
                <c:pt idx="2">
                  <c:v>0.64200000000000002</c:v>
                </c:pt>
                <c:pt idx="3">
                  <c:v>0.9</c:v>
                </c:pt>
                <c:pt idx="4">
                  <c:v>1.534</c:v>
                </c:pt>
                <c:pt idx="5">
                  <c:v>0.372</c:v>
                </c:pt>
                <c:pt idx="6">
                  <c:v>0.14299999999999999</c:v>
                </c:pt>
              </c:numCache>
            </c:numRef>
          </c:yVal>
          <c:bubbleSize>
            <c:numRef>
              <c:f>Sheet1!$C$2:$C$8</c:f>
              <c:numCache>
                <c:formatCode>General</c:formatCode>
                <c:ptCount val="7"/>
                <c:pt idx="0">
                  <c:v>4965545</c:v>
                </c:pt>
                <c:pt idx="1">
                  <c:v>2807951</c:v>
                </c:pt>
                <c:pt idx="2">
                  <c:v>1714346</c:v>
                </c:pt>
                <c:pt idx="3">
                  <c:v>1174789</c:v>
                </c:pt>
                <c:pt idx="4">
                  <c:v>469303</c:v>
                </c:pt>
                <c:pt idx="5">
                  <c:v>363864</c:v>
                </c:pt>
                <c:pt idx="6">
                  <c:v>32190</c:v>
                </c:pt>
              </c:numCache>
            </c:numRef>
          </c:bubbleSize>
          <c:bubble3D val="0"/>
          <c:extLst>
            <c:ext xmlns:c15="http://schemas.microsoft.com/office/drawing/2012/chart" uri="{02D57815-91ED-43cb-92C2-25804820EDAC}">
              <c15:datalabelsRange>
                <c15:f>Sheet1!$E$2:$E$10</c15:f>
                <c15:dlblRangeCache>
                  <c:ptCount val="9"/>
                  <c:pt idx="0">
                    <c:v>La Roche-Posay</c:v>
                  </c:pt>
                  <c:pt idx="1">
                    <c:v>Avene</c:v>
                  </c:pt>
                  <c:pt idx="2">
                    <c:v>Vichy</c:v>
                  </c:pt>
                  <c:pt idx="3">
                    <c:v>Eucerin</c:v>
                  </c:pt>
                  <c:pt idx="4">
                    <c:v>Photoderm</c:v>
                  </c:pt>
                  <c:pt idx="5">
                    <c:v>Eclipsol</c:v>
                  </c:pt>
                  <c:pt idx="6">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1"/>
          <c:min val="19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EBB3DD-D243-4B79-BFF2-5619E0467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F98FC4-1DCD-4D30-9FA8-705D93B05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A02C01-99C3-4BFE-9509-141CBBC9A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D48992-9445-4C05-9E54-F52D9CA29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57AA48-E9B9-420E-ABC1-5F3A786E0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688E294-7E50-4227-B2BD-04EA393A4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7A1C449-F01C-4307-B0B7-CE780EB7F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EAFA7E-4E11-4C5E-BA0B-C49E93A13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7.1653</c:v>
                </c:pt>
                <c:pt idx="1">
                  <c:v>290.39089999999999</c:v>
                </c:pt>
                <c:pt idx="2">
                  <c:v>563.72080000000005</c:v>
                </c:pt>
                <c:pt idx="3">
                  <c:v>575.97080000000005</c:v>
                </c:pt>
                <c:pt idx="4">
                  <c:v>539.51080000000002</c:v>
                </c:pt>
                <c:pt idx="5">
                  <c:v>321.15899999999999</c:v>
                </c:pt>
                <c:pt idx="6">
                  <c:v>535.15009999999995</c:v>
                </c:pt>
                <c:pt idx="7">
                  <c:v>653.69380000000001</c:v>
                </c:pt>
              </c:numCache>
            </c:numRef>
          </c:xVal>
          <c:yVal>
            <c:numRef>
              <c:f>Sheet1!$B$2:$B$9</c:f>
              <c:numCache>
                <c:formatCode>General</c:formatCode>
                <c:ptCount val="8"/>
                <c:pt idx="0">
                  <c:v>1.419</c:v>
                </c:pt>
                <c:pt idx="1">
                  <c:v>0.68799999999999994</c:v>
                </c:pt>
                <c:pt idx="2">
                  <c:v>2.1349999999999998</c:v>
                </c:pt>
                <c:pt idx="3">
                  <c:v>1.708</c:v>
                </c:pt>
                <c:pt idx="4">
                  <c:v>1.4450000000000001</c:v>
                </c:pt>
                <c:pt idx="5">
                  <c:v>0.83499999999999996</c:v>
                </c:pt>
                <c:pt idx="6">
                  <c:v>1.907</c:v>
                </c:pt>
                <c:pt idx="7">
                  <c:v>1.1919999999999999</c:v>
                </c:pt>
              </c:numCache>
            </c:numRef>
          </c:yVal>
          <c:bubbleSize>
            <c:numRef>
              <c:f>Sheet1!$C$2:$C$9</c:f>
              <c:numCache>
                <c:formatCode>General</c:formatCode>
                <c:ptCount val="8"/>
                <c:pt idx="0">
                  <c:v>108131910</c:v>
                </c:pt>
                <c:pt idx="1">
                  <c:v>99186490</c:v>
                </c:pt>
                <c:pt idx="2">
                  <c:v>44526055</c:v>
                </c:pt>
                <c:pt idx="3">
                  <c:v>39227065</c:v>
                </c:pt>
                <c:pt idx="4">
                  <c:v>23762215</c:v>
                </c:pt>
                <c:pt idx="5">
                  <c:v>13025888</c:v>
                </c:pt>
                <c:pt idx="6">
                  <c:v>11742263</c:v>
                </c:pt>
                <c:pt idx="7">
                  <c:v>10758492</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La Roche-Posay</c:v>
                  </c:pt>
                  <c:pt idx="3">
                    <c:v>Eucerin</c:v>
                  </c:pt>
                  <c:pt idx="4">
                    <c:v>Avene</c:v>
                  </c:pt>
                  <c:pt idx="5">
                    <c:v>Eclipsol</c:v>
                  </c:pt>
                  <c:pt idx="6">
                    <c:v>Photoderm</c:v>
                  </c:pt>
                  <c:pt idx="7">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4"/>
          <c:min val="2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869152-B595-471D-B4A5-6078395F0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31F739-8CC5-4B0C-97F3-A19FE379E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7BBE5E-35A6-4DA7-B2A2-48D8FD56C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9A8E56E-A812-46E4-89EB-7D3047808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2BCC6AD-A1C8-454D-9673-A760D7CDF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347A79-F554-4564-9268-0778A1CCD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293705-8588-48C9-B1F6-5A8643A56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AED30E-85F2-45E3-9D0F-FF54570D4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8.97280000000001</c:v>
                </c:pt>
                <c:pt idx="1">
                  <c:v>198.7268</c:v>
                </c:pt>
                <c:pt idx="2">
                  <c:v>74.766199999999998</c:v>
                </c:pt>
              </c:numCache>
            </c:numRef>
          </c:xVal>
          <c:yVal>
            <c:numRef>
              <c:f>Sheet1!$B$2:$B$4</c:f>
              <c:numCache>
                <c:formatCode>General</c:formatCode>
                <c:ptCount val="3"/>
                <c:pt idx="0">
                  <c:v>1.1319999999999999</c:v>
                </c:pt>
                <c:pt idx="1">
                  <c:v>1.077</c:v>
                </c:pt>
                <c:pt idx="2">
                  <c:v>0.59099999999999997</c:v>
                </c:pt>
              </c:numCache>
            </c:numRef>
          </c:yVal>
          <c:bubbleSize>
            <c:numRef>
              <c:f>Sheet1!$C$2:$C$4</c:f>
              <c:numCache>
                <c:formatCode>General</c:formatCode>
                <c:ptCount val="3"/>
                <c:pt idx="0">
                  <c:v>79888408</c:v>
                </c:pt>
                <c:pt idx="1">
                  <c:v>51049534</c:v>
                </c:pt>
                <c:pt idx="2">
                  <c:v>16190032</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9"/>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510234-F695-4195-8FAD-B01A284B0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2B83CF-078B-47EC-81BF-3800B9628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DDF7FA-C0AA-4899-91E9-20C82769C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311584-AB97-4F2E-B30E-836AA44D2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82BB7A-72BC-4C5C-97CE-B3029D1BD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7E278A-C176-437E-A57B-B3B66E0F2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5627AE7-B2BA-48B6-97CB-E4617DD03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ADA446-096C-4FAA-BDCF-00591D17E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2715</c:v>
                </c:pt>
                <c:pt idx="1">
                  <c:v>202.05410000000001</c:v>
                </c:pt>
                <c:pt idx="2">
                  <c:v>210.22110000000001</c:v>
                </c:pt>
                <c:pt idx="3">
                  <c:v>88.932699999999997</c:v>
                </c:pt>
                <c:pt idx="4">
                  <c:v>74.712599999999995</c:v>
                </c:pt>
                <c:pt idx="5">
                  <c:v>227.98609999999999</c:v>
                </c:pt>
              </c:numCache>
            </c:numRef>
          </c:xVal>
          <c:yVal>
            <c:numRef>
              <c:f>Sheet1!$B$2:$B$7</c:f>
              <c:numCache>
                <c:formatCode>General</c:formatCode>
                <c:ptCount val="6"/>
                <c:pt idx="0">
                  <c:v>1.228</c:v>
                </c:pt>
                <c:pt idx="1">
                  <c:v>0.89</c:v>
                </c:pt>
                <c:pt idx="2">
                  <c:v>0.84799999999999998</c:v>
                </c:pt>
                <c:pt idx="3">
                  <c:v>0.48599999999999999</c:v>
                </c:pt>
                <c:pt idx="4">
                  <c:v>0.45400000000000001</c:v>
                </c:pt>
                <c:pt idx="5">
                  <c:v>3.1619999999999999</c:v>
                </c:pt>
              </c:numCache>
            </c:numRef>
          </c:yVal>
          <c:bubbleSize>
            <c:numRef>
              <c:f>Sheet1!$C$2:$C$7</c:f>
              <c:numCache>
                <c:formatCode>General</c:formatCode>
                <c:ptCount val="6"/>
                <c:pt idx="0">
                  <c:v>111274571</c:v>
                </c:pt>
                <c:pt idx="1">
                  <c:v>42646557</c:v>
                </c:pt>
                <c:pt idx="2">
                  <c:v>26225287</c:v>
                </c:pt>
                <c:pt idx="3">
                  <c:v>9310814</c:v>
                </c:pt>
                <c:pt idx="4">
                  <c:v>6583303</c:v>
                </c:pt>
                <c:pt idx="5">
                  <c:v>30176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AEF0A4-23DC-48CE-AD3D-C7590F00E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D416E5-5EF8-4106-820C-A65A56833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6946FA-90EA-4FD6-8A3E-92E4A0C0E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79217D-5279-47EF-BCF3-70D4B8D43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2BCD54-9D3D-4E8D-A3FD-3EA265EDB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AD362F-69C0-4DA7-92D3-F64C02000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B0E80A-FAA4-4250-BCBF-53F9A8FB9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9FC6FC-287F-407E-8517-D581C1043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9.72550000000001</c:v>
                </c:pt>
                <c:pt idx="1">
                  <c:v>591.12919999999997</c:v>
                </c:pt>
                <c:pt idx="2">
                  <c:v>569.41700000000003</c:v>
                </c:pt>
                <c:pt idx="3">
                  <c:v>592.00930000000005</c:v>
                </c:pt>
                <c:pt idx="4">
                  <c:v>556.07929999999999</c:v>
                </c:pt>
                <c:pt idx="5">
                  <c:v>326.05040000000002</c:v>
                </c:pt>
                <c:pt idx="6">
                  <c:v>385.44869999999997</c:v>
                </c:pt>
                <c:pt idx="7">
                  <c:v>591.68880000000001</c:v>
                </c:pt>
              </c:numCache>
            </c:numRef>
          </c:xVal>
          <c:yVal>
            <c:numRef>
              <c:f>Sheet1!$B$2:$B$9</c:f>
              <c:numCache>
                <c:formatCode>General</c:formatCode>
                <c:ptCount val="8"/>
                <c:pt idx="0">
                  <c:v>0.71199999999999997</c:v>
                </c:pt>
                <c:pt idx="1">
                  <c:v>1.508</c:v>
                </c:pt>
                <c:pt idx="2">
                  <c:v>1.7490000000000001</c:v>
                </c:pt>
                <c:pt idx="3">
                  <c:v>2.423</c:v>
                </c:pt>
                <c:pt idx="4">
                  <c:v>1.486</c:v>
                </c:pt>
                <c:pt idx="5">
                  <c:v>0.85899999999999999</c:v>
                </c:pt>
                <c:pt idx="6">
                  <c:v>1.347</c:v>
                </c:pt>
                <c:pt idx="7">
                  <c:v>2.2000000000000002</c:v>
                </c:pt>
              </c:numCache>
            </c:numRef>
          </c:yVal>
          <c:bubbleSize>
            <c:numRef>
              <c:f>Sheet1!$C$2:$C$9</c:f>
              <c:numCache>
                <c:formatCode>General</c:formatCode>
                <c:ptCount val="8"/>
                <c:pt idx="0">
                  <c:v>27304308</c:v>
                </c:pt>
                <c:pt idx="1">
                  <c:v>25478849</c:v>
                </c:pt>
                <c:pt idx="2">
                  <c:v>9237082</c:v>
                </c:pt>
                <c:pt idx="3">
                  <c:v>7009390</c:v>
                </c:pt>
                <c:pt idx="4">
                  <c:v>3777447</c:v>
                </c:pt>
                <c:pt idx="5">
                  <c:v>3575795</c:v>
                </c:pt>
                <c:pt idx="6">
                  <c:v>2497322</c:v>
                </c:pt>
                <c:pt idx="7">
                  <c:v>1840744</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Eucerin</c:v>
                  </c:pt>
                  <c:pt idx="3">
                    <c:v>La Roche-Posay</c:v>
                  </c:pt>
                  <c:pt idx="4">
                    <c:v>Avene</c:v>
                  </c:pt>
                  <c:pt idx="5">
                    <c:v>Eclipsol</c:v>
                  </c:pt>
                  <c:pt idx="6">
                    <c:v>Cetaphil</c:v>
                  </c:pt>
                  <c:pt idx="7">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
          <c:min val="2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468EAD-9C40-4FEA-B366-C3D82EE86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9A20E3-9FA6-4028-8EB8-6C0088C3F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616834-7189-421B-A5F5-979B0FBD5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2FA9F96-0952-473D-AB5E-5E3FACDFF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54531B5-DC8E-417E-97A8-790A20600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0EF3386-90B0-4B6B-8E1E-AEB2BF84F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6997B91-7159-4BFA-AF2F-4AB87D87E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9897F6-41BA-490E-91B3-EFCDE4612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5.53890000000001</c:v>
                </c:pt>
                <c:pt idx="1">
                  <c:v>176.99930000000001</c:v>
                </c:pt>
                <c:pt idx="2">
                  <c:v>75.227500000000006</c:v>
                </c:pt>
              </c:numCache>
            </c:numRef>
          </c:xVal>
          <c:yVal>
            <c:numRef>
              <c:f>Sheet1!$B$2:$B$4</c:f>
              <c:numCache>
                <c:formatCode>General</c:formatCode>
                <c:ptCount val="3"/>
                <c:pt idx="0">
                  <c:v>1.145</c:v>
                </c:pt>
                <c:pt idx="1">
                  <c:v>1.121</c:v>
                </c:pt>
                <c:pt idx="2">
                  <c:v>0.57999999999999996</c:v>
                </c:pt>
              </c:numCache>
            </c:numRef>
          </c:yVal>
          <c:bubbleSize>
            <c:numRef>
              <c:f>Sheet1!$C$2:$C$4</c:f>
              <c:numCache>
                <c:formatCode>General</c:formatCode>
                <c:ptCount val="3"/>
                <c:pt idx="0">
                  <c:v>13487454</c:v>
                </c:pt>
                <c:pt idx="1">
                  <c:v>11637350</c:v>
                </c:pt>
                <c:pt idx="2">
                  <c:v>3710219</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BBE21C-B943-4D57-AED6-544A53315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168126-FB64-4670-9BD7-0BADF1712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75A9E7-8B9A-42E5-A5EB-815B4FDB8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718E8B-CD32-400E-B93F-A6FE81769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14C4C2-6F16-405B-9D63-45C2EB186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7197DA-AA30-431D-9F16-E8DA141DB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6DD369-4BA4-4B7D-8508-083973C12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6E40979-E25A-4B37-9FAB-05A27451C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4.6602</c:v>
                </c:pt>
                <c:pt idx="1">
                  <c:v>198.59870000000001</c:v>
                </c:pt>
                <c:pt idx="2">
                  <c:v>192.91290000000001</c:v>
                </c:pt>
                <c:pt idx="3">
                  <c:v>87.215800000000002</c:v>
                </c:pt>
                <c:pt idx="4">
                  <c:v>74.168000000000006</c:v>
                </c:pt>
                <c:pt idx="5">
                  <c:v>220.01349999999999</c:v>
                </c:pt>
              </c:numCache>
            </c:numRef>
          </c:xVal>
          <c:yVal>
            <c:numRef>
              <c:f>Sheet1!$B$2:$B$7</c:f>
              <c:numCache>
                <c:formatCode>General</c:formatCode>
                <c:ptCount val="6"/>
                <c:pt idx="0">
                  <c:v>1.2749999999999999</c:v>
                </c:pt>
                <c:pt idx="1">
                  <c:v>0.85499999999999998</c:v>
                </c:pt>
                <c:pt idx="2">
                  <c:v>0.85899999999999999</c:v>
                </c:pt>
                <c:pt idx="3">
                  <c:v>0.47699999999999998</c:v>
                </c:pt>
                <c:pt idx="4">
                  <c:v>0.44600000000000001</c:v>
                </c:pt>
                <c:pt idx="5">
                  <c:v>3.0779999999999998</c:v>
                </c:pt>
              </c:numCache>
            </c:numRef>
          </c:yVal>
          <c:bubbleSize>
            <c:numRef>
              <c:f>Sheet1!$C$2:$C$7</c:f>
              <c:numCache>
                <c:formatCode>General</c:formatCode>
                <c:ptCount val="6"/>
                <c:pt idx="0">
                  <c:v>76877378</c:v>
                </c:pt>
                <c:pt idx="1">
                  <c:v>26121485</c:v>
                </c:pt>
                <c:pt idx="2">
                  <c:v>20488126</c:v>
                </c:pt>
                <c:pt idx="3">
                  <c:v>7108348</c:v>
                </c:pt>
                <c:pt idx="4">
                  <c:v>3174094</c:v>
                </c:pt>
                <c:pt idx="5">
                  <c:v>191719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4"/>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DB5060-3EAF-4E29-9E16-322CE47B9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AD6D1F-9412-49AF-81FE-E45133F4C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BEA6C8-AD56-4BF7-B81A-416ECE707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E7D859-BC4E-478E-B8F4-D4A9CC3F4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90B7D1-42A6-4CED-9BE6-65947C1B4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51EAD6-7540-4B2C-85E9-0FEEAFA95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C790C1-B816-49FF-A96D-64499FEA2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BF1FE6-73BC-4AF3-83E9-513D28B7E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2.87279999999998</c:v>
                </c:pt>
                <c:pt idx="1">
                  <c:v>544.99419999999998</c:v>
                </c:pt>
                <c:pt idx="2">
                  <c:v>292.4042</c:v>
                </c:pt>
                <c:pt idx="3">
                  <c:v>574.2405</c:v>
                </c:pt>
                <c:pt idx="4">
                  <c:v>521.06539999999995</c:v>
                </c:pt>
                <c:pt idx="5">
                  <c:v>613.47059999999999</c:v>
                </c:pt>
                <c:pt idx="6">
                  <c:v>493.8476</c:v>
                </c:pt>
                <c:pt idx="7">
                  <c:v>402.11619999999999</c:v>
                </c:pt>
              </c:numCache>
            </c:numRef>
          </c:xVal>
          <c:yVal>
            <c:numRef>
              <c:f>Sheet1!$B$2:$B$9</c:f>
              <c:numCache>
                <c:formatCode>General</c:formatCode>
                <c:ptCount val="8"/>
                <c:pt idx="0">
                  <c:v>1.2110000000000001</c:v>
                </c:pt>
                <c:pt idx="1">
                  <c:v>1.61</c:v>
                </c:pt>
                <c:pt idx="2">
                  <c:v>0.59499999999999997</c:v>
                </c:pt>
                <c:pt idx="3">
                  <c:v>1.413</c:v>
                </c:pt>
                <c:pt idx="4">
                  <c:v>1.1579999999999999</c:v>
                </c:pt>
                <c:pt idx="5">
                  <c:v>0.875</c:v>
                </c:pt>
                <c:pt idx="6">
                  <c:v>1.44</c:v>
                </c:pt>
                <c:pt idx="7">
                  <c:v>1.133</c:v>
                </c:pt>
              </c:numCache>
            </c:numRef>
          </c:yVal>
          <c:bubbleSize>
            <c:numRef>
              <c:f>Sheet1!$C$2:$C$9</c:f>
              <c:numCache>
                <c:formatCode>General</c:formatCode>
                <c:ptCount val="8"/>
                <c:pt idx="0">
                  <c:v>38563986</c:v>
                </c:pt>
                <c:pt idx="1">
                  <c:v>20599144</c:v>
                </c:pt>
                <c:pt idx="2">
                  <c:v>19050720</c:v>
                </c:pt>
                <c:pt idx="3">
                  <c:v>12851502</c:v>
                </c:pt>
                <c:pt idx="4">
                  <c:v>10428081</c:v>
                </c:pt>
                <c:pt idx="5">
                  <c:v>4896109</c:v>
                </c:pt>
                <c:pt idx="6">
                  <c:v>4599203</c:v>
                </c:pt>
                <c:pt idx="7">
                  <c:v>2910115</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Neutrogena</c:v>
                  </c:pt>
                  <c:pt idx="3">
                    <c:v>Eucerin</c:v>
                  </c:pt>
                  <c:pt idx="4">
                    <c:v>Avene</c:v>
                  </c:pt>
                  <c:pt idx="5">
                    <c:v>Vichy</c:v>
                  </c:pt>
                  <c:pt idx="6">
                    <c:v>Photoderm</c:v>
                  </c:pt>
                  <c:pt idx="7">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
          <c:min val="23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5A450A-FB02-4C8F-A199-AC2B5EA73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A36D90-BF1C-46D6-8F6F-007F57A6E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AF14E5-AA46-46DA-B20C-4D220AB37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7624A77-7F48-4E57-823F-41127AB0E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A8A1142-C000-4E24-87E6-E23620711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1A2E68-DF7A-42AA-8DAA-BE2C8F367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D253C50-ECDF-4077-A069-65EA72FA9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7208CB-5D25-4D70-A1C1-78ED015CE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53809999999999</c:v>
                </c:pt>
                <c:pt idx="1">
                  <c:v>181.97620000000001</c:v>
                </c:pt>
                <c:pt idx="2">
                  <c:v>73.250200000000007</c:v>
                </c:pt>
              </c:numCache>
            </c:numRef>
          </c:xVal>
          <c:yVal>
            <c:numRef>
              <c:f>Sheet1!$B$2:$B$4</c:f>
              <c:numCache>
                <c:formatCode>General</c:formatCode>
                <c:ptCount val="3"/>
                <c:pt idx="0">
                  <c:v>1.1140000000000001</c:v>
                </c:pt>
                <c:pt idx="1">
                  <c:v>1.1020000000000001</c:v>
                </c:pt>
                <c:pt idx="2">
                  <c:v>0.627</c:v>
                </c:pt>
              </c:numCache>
            </c:numRef>
          </c:yVal>
          <c:bubbleSize>
            <c:numRef>
              <c:f>Sheet1!$C$2:$C$4</c:f>
              <c:numCache>
                <c:formatCode>General</c:formatCode>
                <c:ptCount val="3"/>
                <c:pt idx="0">
                  <c:v>10876777</c:v>
                </c:pt>
                <c:pt idx="1">
                  <c:v>6204479</c:v>
                </c:pt>
                <c:pt idx="2">
                  <c:v>2373891</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3"/>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1510C4-C169-4CD6-A0A1-8EE63E872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93DA5B-3E30-4E10-9CAA-645C6EB78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B065AE-A3D2-4869-9122-A4155868B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6AAA32-617D-4753-AB75-AA57805F4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F3B9FD-1BAC-4272-BB3A-33B4C80D5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07A55D-48DF-4239-AFE3-83FA3D290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EAFACF0-959F-4CD7-BC65-23E449CFB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3546FF4-5671-49C4-8F49-8C50A5FA2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1934</c:v>
                </c:pt>
                <c:pt idx="1">
                  <c:v>221.78880000000001</c:v>
                </c:pt>
                <c:pt idx="2">
                  <c:v>222.16919999999999</c:v>
                </c:pt>
                <c:pt idx="3">
                  <c:v>91.467699999999994</c:v>
                </c:pt>
                <c:pt idx="4">
                  <c:v>73.717100000000002</c:v>
                </c:pt>
                <c:pt idx="5">
                  <c:v>156.0933</c:v>
                </c:pt>
              </c:numCache>
            </c:numRef>
          </c:xVal>
          <c:yVal>
            <c:numRef>
              <c:f>Sheet1!$B$2:$B$7</c:f>
              <c:numCache>
                <c:formatCode>General</c:formatCode>
                <c:ptCount val="6"/>
                <c:pt idx="0">
                  <c:v>1.1859999999999999</c:v>
                </c:pt>
                <c:pt idx="1">
                  <c:v>0.90900000000000003</c:v>
                </c:pt>
                <c:pt idx="2">
                  <c:v>0.92300000000000004</c:v>
                </c:pt>
                <c:pt idx="3">
                  <c:v>0.496</c:v>
                </c:pt>
                <c:pt idx="4">
                  <c:v>0.46899999999999997</c:v>
                </c:pt>
                <c:pt idx="5">
                  <c:v>2.363</c:v>
                </c:pt>
              </c:numCache>
            </c:numRef>
          </c:yVal>
          <c:bubbleSize>
            <c:numRef>
              <c:f>Sheet1!$C$2:$C$7</c:f>
              <c:numCache>
                <c:formatCode>General</c:formatCode>
                <c:ptCount val="6"/>
                <c:pt idx="0">
                  <c:v>106919192</c:v>
                </c:pt>
                <c:pt idx="1">
                  <c:v>35460921</c:v>
                </c:pt>
                <c:pt idx="2">
                  <c:v>19002574</c:v>
                </c:pt>
                <c:pt idx="3">
                  <c:v>7573435</c:v>
                </c:pt>
                <c:pt idx="4">
                  <c:v>3202788</c:v>
                </c:pt>
                <c:pt idx="5">
                  <c:v>223447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C211BF-30F9-4D28-AD80-CDD4D57B4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8B2239-9EEC-4DF4-8B1B-E66A46366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61B7D3-BAE6-4F0D-AB4B-DA2166D09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B10D03-F82E-4179-BE14-42CB3DCB9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911F96-2818-4141-8C3F-AC2D8DDDE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ED0461-A714-46E7-B9FD-C937E9431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81C1A0-93DE-4C6D-8B2E-1857EAAC7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869AF0-093F-4B0D-AC62-BD55675B7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80.85379999999998</c:v>
                </c:pt>
                <c:pt idx="1">
                  <c:v>605.09690000000001</c:v>
                </c:pt>
                <c:pt idx="2">
                  <c:v>520.99090000000001</c:v>
                </c:pt>
                <c:pt idx="3">
                  <c:v>300.56389999999999</c:v>
                </c:pt>
                <c:pt idx="4">
                  <c:v>588.91219999999998</c:v>
                </c:pt>
                <c:pt idx="5">
                  <c:v>553.51400000000001</c:v>
                </c:pt>
                <c:pt idx="6">
                  <c:v>386.5265</c:v>
                </c:pt>
              </c:numCache>
            </c:numRef>
          </c:xVal>
          <c:yVal>
            <c:numRef>
              <c:f>Sheet1!$B$2:$B$8</c:f>
              <c:numCache>
                <c:formatCode>General</c:formatCode>
                <c:ptCount val="7"/>
                <c:pt idx="0">
                  <c:v>0.88600000000000001</c:v>
                </c:pt>
                <c:pt idx="1">
                  <c:v>2.1419999999999999</c:v>
                </c:pt>
                <c:pt idx="2">
                  <c:v>2.415</c:v>
                </c:pt>
                <c:pt idx="3">
                  <c:v>1.099</c:v>
                </c:pt>
                <c:pt idx="4">
                  <c:v>2.056</c:v>
                </c:pt>
                <c:pt idx="5">
                  <c:v>11.252000000000001</c:v>
                </c:pt>
                <c:pt idx="6">
                  <c:v>4.6230000000000002</c:v>
                </c:pt>
              </c:numCache>
            </c:numRef>
          </c:yVal>
          <c:bubbleSize>
            <c:numRef>
              <c:f>Sheet1!$C$2:$C$8</c:f>
              <c:numCache>
                <c:formatCode>General</c:formatCode>
                <c:ptCount val="7"/>
                <c:pt idx="0">
                  <c:v>12857206</c:v>
                </c:pt>
                <c:pt idx="1">
                  <c:v>3786091</c:v>
                </c:pt>
                <c:pt idx="2">
                  <c:v>2173053</c:v>
                </c:pt>
                <c:pt idx="3">
                  <c:v>1656708</c:v>
                </c:pt>
                <c:pt idx="4">
                  <c:v>1072998</c:v>
                </c:pt>
                <c:pt idx="5">
                  <c:v>792632</c:v>
                </c:pt>
                <c:pt idx="6">
                  <c:v>444119</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Eucerin</c:v>
                  </c:pt>
                  <c:pt idx="3">
                    <c:v>Eclipsol</c:v>
                  </c:pt>
                  <c:pt idx="4">
                    <c:v>Avene</c:v>
                  </c:pt>
                  <c:pt idx="5">
                    <c:v>La Roche-Posay</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2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4EFAE4B-A69B-4477-98E7-342FB64D2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62F3B26-2391-4BEA-AB3D-F73DC444F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50C0102-E871-431F-A877-413E682A5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208CC04-364F-4C88-A763-25713ECFB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9F53DE6-4E36-483C-BDAB-BA444B016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E8ADAF4-1661-453A-80C7-6206B587E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F9B512F-F785-4C54-A2CD-1933E1C6B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E6C3A7C-3C4F-4FFA-9C4C-B2F4C6CC0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3.94550000000001</c:v>
                </c:pt>
                <c:pt idx="1">
                  <c:v>242.26339999999999</c:v>
                </c:pt>
                <c:pt idx="2">
                  <c:v>210.5241</c:v>
                </c:pt>
                <c:pt idx="3">
                  <c:v>685.87379999999996</c:v>
                </c:pt>
              </c:numCache>
            </c:numRef>
          </c:xVal>
          <c:yVal>
            <c:numRef>
              <c:f>Sheet1!$B$2:$B$5</c:f>
              <c:numCache>
                <c:formatCode>General</c:formatCode>
                <c:ptCount val="4"/>
                <c:pt idx="0">
                  <c:v>0.95699999999999996</c:v>
                </c:pt>
                <c:pt idx="1">
                  <c:v>1.175</c:v>
                </c:pt>
                <c:pt idx="2">
                  <c:v>0.84699999999999998</c:v>
                </c:pt>
                <c:pt idx="3">
                  <c:v>3.5230000000000001</c:v>
                </c:pt>
              </c:numCache>
            </c:numRef>
          </c:yVal>
          <c:bubbleSize>
            <c:numRef>
              <c:f>Sheet1!$C$2:$C$5</c:f>
              <c:numCache>
                <c:formatCode>General</c:formatCode>
                <c:ptCount val="4"/>
                <c:pt idx="0">
                  <c:v>1245526</c:v>
                </c:pt>
                <c:pt idx="1">
                  <c:v>462723</c:v>
                </c:pt>
                <c:pt idx="2">
                  <c:v>414943</c:v>
                </c:pt>
                <c:pt idx="3">
                  <c:v>70645</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Vichy</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3"/>
          <c:min val="1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015E07-D018-4248-96B3-ACA961AC0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41D9E9-BA7E-43B0-9042-3E281A71A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0D6498-C0DF-4EB4-8635-A4F746674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69E6F2-6B41-4520-A888-3CA43093E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113C9A9-C4E0-455E-A063-9D5E4554C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6B4D850-9252-401E-A61B-D7398FE54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9EE1622-4699-4FE7-84BB-A1A462BC0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E2D8768-EB1E-43FB-A044-CD1296C2B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1.62649999999999</c:v>
                </c:pt>
                <c:pt idx="1">
                  <c:v>220.4366</c:v>
                </c:pt>
                <c:pt idx="2">
                  <c:v>77.320999999999998</c:v>
                </c:pt>
                <c:pt idx="3">
                  <c:v>333.80770000000001</c:v>
                </c:pt>
              </c:numCache>
            </c:numRef>
          </c:xVal>
          <c:yVal>
            <c:numRef>
              <c:f>Sheet1!$B$2:$B$5</c:f>
              <c:numCache>
                <c:formatCode>General</c:formatCode>
                <c:ptCount val="4"/>
                <c:pt idx="0">
                  <c:v>1.1080000000000001</c:v>
                </c:pt>
                <c:pt idx="1">
                  <c:v>1.0429999999999999</c:v>
                </c:pt>
                <c:pt idx="2">
                  <c:v>0.61</c:v>
                </c:pt>
                <c:pt idx="3">
                  <c:v>1.7150000000000001</c:v>
                </c:pt>
              </c:numCache>
            </c:numRef>
          </c:yVal>
          <c:bubbleSize>
            <c:numRef>
              <c:f>Sheet1!$C$2:$C$5</c:f>
              <c:numCache>
                <c:formatCode>General</c:formatCode>
                <c:ptCount val="4"/>
                <c:pt idx="0">
                  <c:v>14829826</c:v>
                </c:pt>
                <c:pt idx="1">
                  <c:v>10425110</c:v>
                </c:pt>
                <c:pt idx="2">
                  <c:v>2580898</c:v>
                </c:pt>
                <c:pt idx="3">
                  <c:v>609199</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pt idx="3">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1"/>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606963-B625-47CD-AAC2-E673C6ABB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F65B17-2721-41CE-B465-252656FD8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F7C5DC-4BC8-4343-AC53-DB4B50A82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5CDB8B-A1E3-4311-B2B7-10C02755F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6FCC6D-5C0D-42CE-BDED-FBD562E6C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F9A5C9-D15A-41AF-8987-311C6FB8F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3CDE45-1744-46EB-987F-F2633319E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2FF7092-F3E3-4ED0-86FD-E3A168707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63650000000001</c:v>
                </c:pt>
                <c:pt idx="1">
                  <c:v>213.0857</c:v>
                </c:pt>
                <c:pt idx="2">
                  <c:v>219.74940000000001</c:v>
                </c:pt>
                <c:pt idx="3">
                  <c:v>89.713499999999996</c:v>
                </c:pt>
                <c:pt idx="4">
                  <c:v>74.441800000000001</c:v>
                </c:pt>
                <c:pt idx="5">
                  <c:v>214.86019999999999</c:v>
                </c:pt>
              </c:numCache>
            </c:numRef>
          </c:xVal>
          <c:yVal>
            <c:numRef>
              <c:f>Sheet1!$B$2:$B$7</c:f>
              <c:numCache>
                <c:formatCode>General</c:formatCode>
                <c:ptCount val="6"/>
                <c:pt idx="0">
                  <c:v>1.24</c:v>
                </c:pt>
                <c:pt idx="1">
                  <c:v>0.90600000000000003</c:v>
                </c:pt>
                <c:pt idx="2">
                  <c:v>0.88100000000000001</c:v>
                </c:pt>
                <c:pt idx="3">
                  <c:v>0.53</c:v>
                </c:pt>
                <c:pt idx="4">
                  <c:v>0.46800000000000003</c:v>
                </c:pt>
                <c:pt idx="5">
                  <c:v>3.1869999999999998</c:v>
                </c:pt>
              </c:numCache>
            </c:numRef>
          </c:yVal>
          <c:bubbleSize>
            <c:numRef>
              <c:f>Sheet1!$C$2:$C$7</c:f>
              <c:numCache>
                <c:formatCode>General</c:formatCode>
                <c:ptCount val="6"/>
                <c:pt idx="0">
                  <c:v>88331422</c:v>
                </c:pt>
                <c:pt idx="1">
                  <c:v>31006308</c:v>
                </c:pt>
                <c:pt idx="2">
                  <c:v>19425192</c:v>
                </c:pt>
                <c:pt idx="3">
                  <c:v>9096325</c:v>
                </c:pt>
                <c:pt idx="4">
                  <c:v>4963182</c:v>
                </c:pt>
                <c:pt idx="5">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7A7CE5-F915-471C-96C7-97EE203E7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E3E2A8-9752-4DFB-AC4B-5EF7B7924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A5C7F7-729A-40A1-AA63-198DF614C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644E79-B8A8-4835-A72F-B0952BEE0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8A83BE-4A50-420C-B345-130E4F822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106998-11CF-42C3-8450-F07AF8A57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4B5524-9B7B-4F13-BF2A-E796DF96D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465116-A147-463E-9758-F87849D93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0.55079999999998</c:v>
                </c:pt>
                <c:pt idx="1">
                  <c:v>289.0043</c:v>
                </c:pt>
                <c:pt idx="2">
                  <c:v>592.2799</c:v>
                </c:pt>
                <c:pt idx="3">
                  <c:v>586.80870000000004</c:v>
                </c:pt>
                <c:pt idx="4">
                  <c:v>555.48559999999998</c:v>
                </c:pt>
                <c:pt idx="5">
                  <c:v>322.97570000000002</c:v>
                </c:pt>
                <c:pt idx="6">
                  <c:v>599.99940000000004</c:v>
                </c:pt>
                <c:pt idx="7">
                  <c:v>692.61900000000003</c:v>
                </c:pt>
              </c:numCache>
            </c:numRef>
          </c:xVal>
          <c:yVal>
            <c:numRef>
              <c:f>Sheet1!$B$2:$B$9</c:f>
              <c:numCache>
                <c:formatCode>General</c:formatCode>
                <c:ptCount val="8"/>
                <c:pt idx="0">
                  <c:v>1.3460000000000001</c:v>
                </c:pt>
                <c:pt idx="1">
                  <c:v>0.67</c:v>
                </c:pt>
                <c:pt idx="2">
                  <c:v>1.7170000000000001</c:v>
                </c:pt>
                <c:pt idx="3">
                  <c:v>2.2839999999999998</c:v>
                </c:pt>
                <c:pt idx="4">
                  <c:v>1.4890000000000001</c:v>
                </c:pt>
                <c:pt idx="5">
                  <c:v>0.81499999999999995</c:v>
                </c:pt>
                <c:pt idx="6">
                  <c:v>2.1669999999999998</c:v>
                </c:pt>
                <c:pt idx="7">
                  <c:v>1.3340000000000001</c:v>
                </c:pt>
              </c:numCache>
            </c:numRef>
          </c:yVal>
          <c:bubbleSize>
            <c:numRef>
              <c:f>Sheet1!$C$2:$C$9</c:f>
              <c:numCache>
                <c:formatCode>General</c:formatCode>
                <c:ptCount val="8"/>
                <c:pt idx="0">
                  <c:v>17830499</c:v>
                </c:pt>
                <c:pt idx="1">
                  <c:v>15832523</c:v>
                </c:pt>
                <c:pt idx="2">
                  <c:v>6878146</c:v>
                </c:pt>
                <c:pt idx="3">
                  <c:v>6449028</c:v>
                </c:pt>
                <c:pt idx="4">
                  <c:v>3533444</c:v>
                </c:pt>
                <c:pt idx="5">
                  <c:v>2700077</c:v>
                </c:pt>
                <c:pt idx="6">
                  <c:v>1855198</c:v>
                </c:pt>
                <c:pt idx="7">
                  <c:v>1681679</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Eucerin</c:v>
                  </c:pt>
                  <c:pt idx="3">
                    <c:v>La Roche-Posay</c:v>
                  </c:pt>
                  <c:pt idx="4">
                    <c:v>Avene</c:v>
                  </c:pt>
                  <c:pt idx="5">
                    <c:v>Eclipsol</c:v>
                  </c:pt>
                  <c:pt idx="6">
                    <c:v>Photoderm</c:v>
                  </c:pt>
                  <c:pt idx="7">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1"/>
          <c:min val="2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658B85-14B9-4A57-B164-B2A0169F6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AE2ABB-A1E1-4D97-8FC6-3FAEDD461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E300F0-F616-4858-858D-5B1385DCF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40FDC0F-FA1B-4BDA-98EF-B7BDEE61A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51F73E8-C44C-4886-BF87-E2719BEF7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BB24796-87E5-4553-9F49-7D8E49BD0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F0F748B-6A47-4F8F-A932-BCA89E639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66FBE7-2399-4E42-B670-CBE8657C1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7.36590000000001</c:v>
                </c:pt>
                <c:pt idx="1">
                  <c:v>202.6541</c:v>
                </c:pt>
                <c:pt idx="2">
                  <c:v>74.376300000000001</c:v>
                </c:pt>
              </c:numCache>
            </c:numRef>
          </c:xVal>
          <c:yVal>
            <c:numRef>
              <c:f>Sheet1!$B$2:$B$4</c:f>
              <c:numCache>
                <c:formatCode>General</c:formatCode>
                <c:ptCount val="3"/>
                <c:pt idx="0">
                  <c:v>1.1439999999999999</c:v>
                </c:pt>
                <c:pt idx="1">
                  <c:v>1.1120000000000001</c:v>
                </c:pt>
                <c:pt idx="2">
                  <c:v>0.63</c:v>
                </c:pt>
              </c:numCache>
            </c:numRef>
          </c:yVal>
          <c:bubbleSize>
            <c:numRef>
              <c:f>Sheet1!$C$2:$C$4</c:f>
              <c:numCache>
                <c:formatCode>General</c:formatCode>
                <c:ptCount val="3"/>
                <c:pt idx="0">
                  <c:v>11537145</c:v>
                </c:pt>
                <c:pt idx="1">
                  <c:v>7694775</c:v>
                </c:pt>
                <c:pt idx="2">
                  <c:v>3365824</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622A6C-26D8-4738-A1E7-F5BA48F00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E31DC6-B6A8-40CD-85FD-7D02D6835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4486EC-F8D8-41FD-B2B2-755285498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392F49-466E-4EEE-8E4C-5469C07FE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206CEF-5EEB-48DA-B82F-4C85C7218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6F7253-4733-4E54-9529-B0E3A89FC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EA8859-D54F-4153-BCD1-A22D5FE50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2A0665-7257-4440-B5E8-C52EF37C8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6.5461</c:v>
                </c:pt>
                <c:pt idx="1">
                  <c:v>218.12209999999999</c:v>
                </c:pt>
                <c:pt idx="2">
                  <c:v>231.68799999999999</c:v>
                </c:pt>
                <c:pt idx="3">
                  <c:v>89.617099999999994</c:v>
                </c:pt>
                <c:pt idx="4">
                  <c:v>74.820400000000006</c:v>
                </c:pt>
                <c:pt idx="5">
                  <c:v>221.1781</c:v>
                </c:pt>
              </c:numCache>
            </c:numRef>
          </c:xVal>
          <c:yVal>
            <c:numRef>
              <c:f>Sheet1!$B$2:$B$7</c:f>
              <c:numCache>
                <c:formatCode>General</c:formatCode>
                <c:ptCount val="6"/>
                <c:pt idx="0">
                  <c:v>1.264</c:v>
                </c:pt>
                <c:pt idx="1">
                  <c:v>0.94099999999999995</c:v>
                </c:pt>
                <c:pt idx="2">
                  <c:v>0.93100000000000005</c:v>
                </c:pt>
                <c:pt idx="3">
                  <c:v>0.49399999999999999</c:v>
                </c:pt>
                <c:pt idx="4">
                  <c:v>0.46600000000000003</c:v>
                </c:pt>
                <c:pt idx="5">
                  <c:v>3.2280000000000002</c:v>
                </c:pt>
              </c:numCache>
            </c:numRef>
          </c:yVal>
          <c:bubbleSize>
            <c:numRef>
              <c:f>Sheet1!$C$2:$C$7</c:f>
              <c:numCache>
                <c:formatCode>General</c:formatCode>
                <c:ptCount val="6"/>
                <c:pt idx="0">
                  <c:v>71214845</c:v>
                </c:pt>
                <c:pt idx="1">
                  <c:v>34650228</c:v>
                </c:pt>
                <c:pt idx="2">
                  <c:v>23619901</c:v>
                </c:pt>
                <c:pt idx="3">
                  <c:v>8454656</c:v>
                </c:pt>
                <c:pt idx="4">
                  <c:v>4294539</c:v>
                </c:pt>
                <c:pt idx="5">
                  <c:v>195145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011716-41F0-4299-A90D-AB5340FE9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A2DD88-B34B-4973-9845-8E26A2582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AFA4B2-5F5B-497D-9A0B-5B322D675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8D99F6-E225-491D-B9DC-BDEB56DDE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C3E97C-C857-404B-BFB0-68B1059D1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0EEDE5-5822-4168-80FF-0CA134931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FD8DE3-2BA6-4D01-8603-874FCC9B5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635E888-95A2-4AEA-9EBE-CEBB4DBF7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699999999998</c:v>
                </c:pt>
                <c:pt idx="1">
                  <c:v>296.70359999999999</c:v>
                </c:pt>
                <c:pt idx="2">
                  <c:v>577.61429999999996</c:v>
                </c:pt>
                <c:pt idx="3">
                  <c:v>583.74170000000004</c:v>
                </c:pt>
                <c:pt idx="4">
                  <c:v>541.65340000000003</c:v>
                </c:pt>
                <c:pt idx="5">
                  <c:v>569.41949999999997</c:v>
                </c:pt>
                <c:pt idx="6">
                  <c:v>328.01260000000002</c:v>
                </c:pt>
                <c:pt idx="7">
                  <c:v>675.12199999999996</c:v>
                </c:pt>
              </c:numCache>
            </c:numRef>
          </c:xVal>
          <c:yVal>
            <c:numRef>
              <c:f>Sheet1!$B$2:$B$9</c:f>
              <c:numCache>
                <c:formatCode>General</c:formatCode>
                <c:ptCount val="8"/>
                <c:pt idx="0">
                  <c:v>1.319</c:v>
                </c:pt>
                <c:pt idx="1">
                  <c:v>0.72099999999999997</c:v>
                </c:pt>
                <c:pt idx="2">
                  <c:v>2.1230000000000002</c:v>
                </c:pt>
                <c:pt idx="3">
                  <c:v>1.653</c:v>
                </c:pt>
                <c:pt idx="4">
                  <c:v>1.4970000000000001</c:v>
                </c:pt>
                <c:pt idx="5">
                  <c:v>1.956</c:v>
                </c:pt>
                <c:pt idx="6">
                  <c:v>0.87</c:v>
                </c:pt>
                <c:pt idx="7">
                  <c:v>1.2030000000000001</c:v>
                </c:pt>
              </c:numCache>
            </c:numRef>
          </c:yVal>
          <c:bubbleSize>
            <c:numRef>
              <c:f>Sheet1!$C$2:$C$9</c:f>
              <c:numCache>
                <c:formatCode>General</c:formatCode>
                <c:ptCount val="8"/>
                <c:pt idx="0">
                  <c:v>16648350</c:v>
                </c:pt>
                <c:pt idx="1">
                  <c:v>15085897</c:v>
                </c:pt>
                <c:pt idx="2">
                  <c:v>6503359</c:v>
                </c:pt>
                <c:pt idx="3">
                  <c:v>5453315</c:v>
                </c:pt>
                <c:pt idx="4">
                  <c:v>3844114</c:v>
                </c:pt>
                <c:pt idx="5">
                  <c:v>2465017</c:v>
                </c:pt>
                <c:pt idx="6">
                  <c:v>1769628</c:v>
                </c:pt>
                <c:pt idx="7">
                  <c:v>1732363</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La Roche-Posay</c:v>
                  </c:pt>
                  <c:pt idx="3">
                    <c:v>Eucerin</c:v>
                  </c:pt>
                  <c:pt idx="4">
                    <c:v>Avene</c:v>
                  </c:pt>
                  <c:pt idx="5">
                    <c:v>Photoderm</c:v>
                  </c:pt>
                  <c:pt idx="6">
                    <c:v>Eclipsol</c:v>
                  </c:pt>
                  <c:pt idx="7">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23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BCEF91-B4E7-4EF9-93CE-29F033E38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FFD728-9994-48FB-A813-17D4154E9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14834A-EB26-402D-805C-17CF7701C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5E4ACA5-BD89-47F3-A72A-582F30938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27DCEE0-F43D-4440-8C81-0CE13F09E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65165F6-8963-4D1E-AD12-7F506523B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171D9C6-6EFD-4096-8718-5962E6297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0D9AA9-76B0-4A62-8F2F-6D5D5D41A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2.45370000000003</c:v>
                </c:pt>
                <c:pt idx="1">
                  <c:v>211.64160000000001</c:v>
                </c:pt>
                <c:pt idx="2">
                  <c:v>76.601600000000005</c:v>
                </c:pt>
              </c:numCache>
            </c:numRef>
          </c:xVal>
          <c:yVal>
            <c:numRef>
              <c:f>Sheet1!$B$2:$B$4</c:f>
              <c:numCache>
                <c:formatCode>General</c:formatCode>
                <c:ptCount val="3"/>
                <c:pt idx="0">
                  <c:v>1.1479999999999999</c:v>
                </c:pt>
                <c:pt idx="1">
                  <c:v>1.0649999999999999</c:v>
                </c:pt>
                <c:pt idx="2">
                  <c:v>0.57299999999999995</c:v>
                </c:pt>
              </c:numCache>
            </c:numRef>
          </c:yVal>
          <c:bubbleSize>
            <c:numRef>
              <c:f>Sheet1!$C$2:$C$4</c:f>
              <c:numCache>
                <c:formatCode>General</c:formatCode>
                <c:ptCount val="3"/>
                <c:pt idx="0">
                  <c:v>15635682</c:v>
                </c:pt>
                <c:pt idx="1">
                  <c:v>8965349</c:v>
                </c:pt>
                <c:pt idx="2">
                  <c:v>2911242</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7361F4-8BCA-4B63-A2F8-902CBE8D6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41D616-8BA0-4A82-A191-49C1C6A83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7A2B71-7E37-43AE-B392-79F71693D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112395-95EE-4073-9ECD-11AC4371C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8AA8E2-74CE-4BB5-AA55-A484D029C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380D60-7524-4FDB-A108-F63298AB8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C4C683F-5C50-4C58-9C73-29E2F48AD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E5F12A-8215-4CA4-9CFE-9F38DC6F9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51070000000001</c:v>
                </c:pt>
                <c:pt idx="1">
                  <c:v>221.86279999999999</c:v>
                </c:pt>
                <c:pt idx="2">
                  <c:v>232.25049999999999</c:v>
                </c:pt>
                <c:pt idx="3">
                  <c:v>85.391199999999998</c:v>
                </c:pt>
                <c:pt idx="4">
                  <c:v>73.085599999999999</c:v>
                </c:pt>
                <c:pt idx="5">
                  <c:v>222.31460000000001</c:v>
                </c:pt>
              </c:numCache>
            </c:numRef>
          </c:xVal>
          <c:yVal>
            <c:numRef>
              <c:f>Sheet1!$B$2:$B$7</c:f>
              <c:numCache>
                <c:formatCode>General</c:formatCode>
                <c:ptCount val="6"/>
                <c:pt idx="0">
                  <c:v>1.19</c:v>
                </c:pt>
                <c:pt idx="1">
                  <c:v>0.88300000000000001</c:v>
                </c:pt>
                <c:pt idx="2">
                  <c:v>0.89900000000000002</c:v>
                </c:pt>
                <c:pt idx="3">
                  <c:v>0.47199999999999998</c:v>
                </c:pt>
                <c:pt idx="4">
                  <c:v>0.42599999999999999</c:v>
                </c:pt>
                <c:pt idx="5">
                  <c:v>3.0070000000000001</c:v>
                </c:pt>
              </c:numCache>
            </c:numRef>
          </c:yVal>
          <c:bubbleSize>
            <c:numRef>
              <c:f>Sheet1!$C$2:$C$7</c:f>
              <c:numCache>
                <c:formatCode>General</c:formatCode>
                <c:ptCount val="6"/>
                <c:pt idx="0">
                  <c:v>68815552</c:v>
                </c:pt>
                <c:pt idx="1">
                  <c:v>25554382</c:v>
                </c:pt>
                <c:pt idx="2">
                  <c:v>16630064</c:v>
                </c:pt>
                <c:pt idx="3">
                  <c:v>4259142</c:v>
                </c:pt>
                <c:pt idx="4">
                  <c:v>1528440</c:v>
                </c:pt>
                <c:pt idx="5">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FCE04D-2F93-406A-9844-E62C7CD2A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55BEC7-90A9-448A-838F-731B64039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F573A1-BA55-4913-85E6-37B6952F9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F89FB9-8B4C-44EA-A1FB-4562FEC4F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3855B5-EA5D-4CE8-870F-235F1FC1F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EAF523-23AD-495F-913A-BAC92B724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082109-A223-4CE1-AE6D-8F11571C3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116ED2-4D97-4DD4-9E78-1BC932F27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4.39339999999999</c:v>
                </c:pt>
                <c:pt idx="1">
                  <c:v>600.36440000000005</c:v>
                </c:pt>
                <c:pt idx="2">
                  <c:v>559.72159999999997</c:v>
                </c:pt>
                <c:pt idx="3">
                  <c:v>601.63699999999994</c:v>
                </c:pt>
                <c:pt idx="4">
                  <c:v>322.10379999999998</c:v>
                </c:pt>
                <c:pt idx="5">
                  <c:v>564.92899999999997</c:v>
                </c:pt>
                <c:pt idx="6">
                  <c:v>725.88959999999997</c:v>
                </c:pt>
                <c:pt idx="7">
                  <c:v>519.03300000000002</c:v>
                </c:pt>
              </c:numCache>
            </c:numRef>
          </c:xVal>
          <c:yVal>
            <c:numRef>
              <c:f>Sheet1!$B$2:$B$9</c:f>
              <c:numCache>
                <c:formatCode>General</c:formatCode>
                <c:ptCount val="8"/>
                <c:pt idx="0">
                  <c:v>0.81200000000000006</c:v>
                </c:pt>
                <c:pt idx="1">
                  <c:v>1.7070000000000001</c:v>
                </c:pt>
                <c:pt idx="2">
                  <c:v>2.9929999999999999</c:v>
                </c:pt>
                <c:pt idx="3">
                  <c:v>2.2290000000000001</c:v>
                </c:pt>
                <c:pt idx="4">
                  <c:v>1.038</c:v>
                </c:pt>
                <c:pt idx="5">
                  <c:v>2.0030000000000001</c:v>
                </c:pt>
                <c:pt idx="6">
                  <c:v>1.708</c:v>
                </c:pt>
                <c:pt idx="7">
                  <c:v>2.0790000000000002</c:v>
                </c:pt>
              </c:numCache>
            </c:numRef>
          </c:yVal>
          <c:bubbleSize>
            <c:numRef>
              <c:f>Sheet1!$C$2:$C$9</c:f>
              <c:numCache>
                <c:formatCode>General</c:formatCode>
                <c:ptCount val="8"/>
                <c:pt idx="0">
                  <c:v>9055836</c:v>
                </c:pt>
                <c:pt idx="1">
                  <c:v>5824135</c:v>
                </c:pt>
                <c:pt idx="2">
                  <c:v>3172502</c:v>
                </c:pt>
                <c:pt idx="3">
                  <c:v>2633967</c:v>
                </c:pt>
                <c:pt idx="4">
                  <c:v>1150877</c:v>
                </c:pt>
                <c:pt idx="5">
                  <c:v>1106131</c:v>
                </c:pt>
                <c:pt idx="6">
                  <c:v>762910</c:v>
                </c:pt>
                <c:pt idx="7">
                  <c:v>692390</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La Roche-Posay</c:v>
                  </c:pt>
                  <c:pt idx="3">
                    <c:v>Eucerin</c:v>
                  </c:pt>
                  <c:pt idx="4">
                    <c:v>Eclipsol</c:v>
                  </c:pt>
                  <c:pt idx="5">
                    <c:v>Avene</c:v>
                  </c:pt>
                  <c:pt idx="6">
                    <c:v>Vichy</c:v>
                  </c:pt>
                  <c:pt idx="7">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23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7EB58C-06F1-489E-BC7A-9CF66EA28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C134FE-B096-4E10-9E95-2FEA6872E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050934-0546-486A-BD94-02F0F9BBF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388B3A2-46AD-49D6-BA48-82DB4FC5D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8E2EF4A-5CCE-4FE8-AA99-8F6209891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D9CE45-5F89-4830-8FD7-6C4DD3D65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360B9F1-4B12-47B1-8B8C-1B05C2D75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3D652E-510F-4AE5-A632-0C02B0A69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7.48809999999997</c:v>
                </c:pt>
                <c:pt idx="1">
                  <c:v>208.13399999999999</c:v>
                </c:pt>
                <c:pt idx="2">
                  <c:v>68.659700000000001</c:v>
                </c:pt>
              </c:numCache>
            </c:numRef>
          </c:xVal>
          <c:yVal>
            <c:numRef>
              <c:f>Sheet1!$B$2:$B$4</c:f>
              <c:numCache>
                <c:formatCode>General</c:formatCode>
                <c:ptCount val="3"/>
                <c:pt idx="0">
                  <c:v>1.113</c:v>
                </c:pt>
                <c:pt idx="1">
                  <c:v>1.02</c:v>
                </c:pt>
                <c:pt idx="2">
                  <c:v>0.52200000000000002</c:v>
                </c:pt>
              </c:numCache>
            </c:numRef>
          </c:yVal>
          <c:bubbleSize>
            <c:numRef>
              <c:f>Sheet1!$C$2:$C$4</c:f>
              <c:numCache>
                <c:formatCode>General</c:formatCode>
                <c:ptCount val="3"/>
                <c:pt idx="0">
                  <c:v>13521524</c:v>
                </c:pt>
                <c:pt idx="1">
                  <c:v>6122471</c:v>
                </c:pt>
                <c:pt idx="2">
                  <c:v>1247958</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1"/>
          <c:min val="5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160330D-982C-43D8-8B66-82FFE7D6B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4BF56C3-18A1-4F39-B86A-8C8421EA2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88D624C-79DA-46AE-B046-3B26F9BB3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2D8CEB8C-B3D5-4945-9D86-1097F874F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84C61DD-93FA-4AF9-9605-F47D76474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57C4A45-53F5-4BB6-A45D-81404EB98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520D6647-42EE-4E8F-B4C8-13800E348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E8212B4B-8886-4A63-8071-CA8D40D70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26.7676</c:v>
                </c:pt>
                <c:pt idx="1">
                  <c:v>148.6302</c:v>
                </c:pt>
                <c:pt idx="2">
                  <c:v>108.1014</c:v>
                </c:pt>
                <c:pt idx="3">
                  <c:v>409.27170000000001</c:v>
                </c:pt>
              </c:numCache>
            </c:numRef>
          </c:xVal>
          <c:yVal>
            <c:numRef>
              <c:f>Sheet1!$B$2:$B$5</c:f>
              <c:numCache>
                <c:formatCode>General</c:formatCode>
                <c:ptCount val="4"/>
                <c:pt idx="0">
                  <c:v>0.91900000000000004</c:v>
                </c:pt>
                <c:pt idx="1">
                  <c:v>1.1910000000000001</c:v>
                </c:pt>
                <c:pt idx="2">
                  <c:v>1.0309999999999999</c:v>
                </c:pt>
                <c:pt idx="3">
                  <c:v>4.7830000000000004</c:v>
                </c:pt>
              </c:numCache>
            </c:numRef>
          </c:yVal>
          <c:bubbleSize>
            <c:numRef>
              <c:f>Sheet1!$C$2:$C$5</c:f>
              <c:numCache>
                <c:formatCode>General</c:formatCode>
                <c:ptCount val="4"/>
                <c:pt idx="0">
                  <c:v>933136</c:v>
                </c:pt>
                <c:pt idx="1">
                  <c:v>673146</c:v>
                </c:pt>
                <c:pt idx="2">
                  <c:v>500077</c:v>
                </c:pt>
                <c:pt idx="3">
                  <c:v>37653</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Nivea</c:v>
                  </c:pt>
                  <c:pt idx="3">
                    <c:v>La Roche-Posay</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1"/>
          <c:min val="8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6CCEAA-5A87-43E0-83FD-4DF82E6F3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4F976A-DDF8-4FD8-A1B1-4B68C895A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F98E51-3F34-48C9-813F-BD7F1C326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48D831-CE3E-48D5-BE1A-895CF3CB2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F6D5AF-6E63-4229-BCCF-A3751D78A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EFC35C-677F-4019-9B2E-25823F5E6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5FF62B-943E-4200-BF2F-C5CFF4CD5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EF8D2D-BECC-448F-8C51-AB8F9E349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8.31790000000001</c:v>
                </c:pt>
                <c:pt idx="1">
                  <c:v>290.39980000000003</c:v>
                </c:pt>
                <c:pt idx="2">
                  <c:v>239.05459999999999</c:v>
                </c:pt>
                <c:pt idx="3">
                  <c:v>239.31800000000001</c:v>
                </c:pt>
                <c:pt idx="4">
                  <c:v>84.7851</c:v>
                </c:pt>
                <c:pt idx="5">
                  <c:v>583.22159999999997</c:v>
                </c:pt>
                <c:pt idx="6">
                  <c:v>74.360500000000002</c:v>
                </c:pt>
                <c:pt idx="7">
                  <c:v>608.14589999999998</c:v>
                </c:pt>
              </c:numCache>
            </c:numRef>
          </c:xVal>
          <c:yVal>
            <c:numRef>
              <c:f>Sheet1!$B$2:$B$9</c:f>
              <c:numCache>
                <c:formatCode>General</c:formatCode>
                <c:ptCount val="8"/>
                <c:pt idx="0">
                  <c:v>1.3540000000000001</c:v>
                </c:pt>
                <c:pt idx="1">
                  <c:v>1.986</c:v>
                </c:pt>
                <c:pt idx="2">
                  <c:v>0.72199999999999998</c:v>
                </c:pt>
                <c:pt idx="3">
                  <c:v>0.65900000000000003</c:v>
                </c:pt>
                <c:pt idx="4">
                  <c:v>0.41299999999999998</c:v>
                </c:pt>
                <c:pt idx="5">
                  <c:v>7.76</c:v>
                </c:pt>
                <c:pt idx="6">
                  <c:v>0.38700000000000001</c:v>
                </c:pt>
                <c:pt idx="7">
                  <c:v>4.8440000000000003</c:v>
                </c:pt>
              </c:numCache>
            </c:numRef>
          </c:yVal>
          <c:bubbleSize>
            <c:numRef>
              <c:f>Sheet1!$C$2:$C$9</c:f>
              <c:numCache>
                <c:formatCode>General</c:formatCode>
                <c:ptCount val="8"/>
                <c:pt idx="0">
                  <c:v>220806067</c:v>
                </c:pt>
                <c:pt idx="1">
                  <c:v>99185766</c:v>
                </c:pt>
                <c:pt idx="2">
                  <c:v>75019886</c:v>
                </c:pt>
                <c:pt idx="3">
                  <c:v>66004370</c:v>
                </c:pt>
                <c:pt idx="4">
                  <c:v>61986804</c:v>
                </c:pt>
                <c:pt idx="5">
                  <c:v>54751094</c:v>
                </c:pt>
                <c:pt idx="6">
                  <c:v>23746346</c:v>
                </c:pt>
                <c:pt idx="7">
                  <c:v>15813619</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Caribbean Beach</c:v>
                  </c:pt>
                  <c:pt idx="5">
                    <c:v>Isdin</c:v>
                  </c:pt>
                  <c:pt idx="6">
                    <c:v>Nuvel</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BCB1F2-5E09-4D19-A365-660FDC114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FD8C28-ADD6-40CB-A31D-08553D820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932EFE-4B21-4383-AF37-31F206BD5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98FB5C-5C87-406E-AADF-365E0C986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E35E3B-E66A-40C6-973F-9FDC39D53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8900669-32A8-4353-A884-5D47FB4A6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9697D33-96CD-4686-88F3-19F6649B8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8A0602-F8CD-4755-A04F-324D90202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6.2193</c:v>
                </c:pt>
                <c:pt idx="1">
                  <c:v>184.5881</c:v>
                </c:pt>
                <c:pt idx="2">
                  <c:v>153.47550000000001</c:v>
                </c:pt>
                <c:pt idx="3">
                  <c:v>206.30250000000001</c:v>
                </c:pt>
              </c:numCache>
            </c:numRef>
          </c:xVal>
          <c:yVal>
            <c:numRef>
              <c:f>Sheet1!$B$2:$B$5</c:f>
              <c:numCache>
                <c:formatCode>General</c:formatCode>
                <c:ptCount val="4"/>
                <c:pt idx="0">
                  <c:v>0.97299999999999998</c:v>
                </c:pt>
                <c:pt idx="1">
                  <c:v>0.878</c:v>
                </c:pt>
                <c:pt idx="2">
                  <c:v>0.81499999999999995</c:v>
                </c:pt>
                <c:pt idx="3">
                  <c:v>2.9670000000000001</c:v>
                </c:pt>
              </c:numCache>
            </c:numRef>
          </c:yVal>
          <c:bubbleSize>
            <c:numRef>
              <c:f>Sheet1!$C$2:$C$5</c:f>
              <c:numCache>
                <c:formatCode>General</c:formatCode>
                <c:ptCount val="4"/>
                <c:pt idx="0">
                  <c:v>158375035</c:v>
                </c:pt>
                <c:pt idx="1">
                  <c:v>134294871</c:v>
                </c:pt>
                <c:pt idx="2">
                  <c:v>28962983</c:v>
                </c:pt>
                <c:pt idx="3">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
          <c:min val="1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E36FB3-F874-4020-B22B-40640350C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FAFC5C-1D10-4BB5-9E5D-974829248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A83317-99B4-4294-B7D2-3F1F37485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8A041E-A897-45B4-8F4C-808A05B06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E4B3B8-DEC8-4B62-A9E6-230759A89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146642-B0D4-4908-862A-A9F26CEDA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AC5F79-1047-47A4-9E80-58711404A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E539895-A0EB-46C6-BDA5-F92732CF1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05040000000002</c:v>
                </c:pt>
                <c:pt idx="1">
                  <c:v>589.79920000000004</c:v>
                </c:pt>
                <c:pt idx="2">
                  <c:v>552.87980000000005</c:v>
                </c:pt>
                <c:pt idx="3">
                  <c:v>161.5934</c:v>
                </c:pt>
                <c:pt idx="4">
                  <c:v>133.5788</c:v>
                </c:pt>
                <c:pt idx="5">
                  <c:v>539.27739999999994</c:v>
                </c:pt>
                <c:pt idx="6">
                  <c:v>567.20190000000002</c:v>
                </c:pt>
              </c:numCache>
            </c:numRef>
          </c:xVal>
          <c:yVal>
            <c:numRef>
              <c:f>Sheet1!$B$2:$B$8</c:f>
              <c:numCache>
                <c:formatCode>General</c:formatCode>
                <c:ptCount val="7"/>
                <c:pt idx="0">
                  <c:v>1.0209999999999999</c:v>
                </c:pt>
                <c:pt idx="1">
                  <c:v>1.8049999999999999</c:v>
                </c:pt>
                <c:pt idx="2">
                  <c:v>8.3439999999999994</c:v>
                </c:pt>
                <c:pt idx="3">
                  <c:v>0.496</c:v>
                </c:pt>
                <c:pt idx="4">
                  <c:v>0.32300000000000001</c:v>
                </c:pt>
                <c:pt idx="5">
                  <c:v>8.5549999999999997</c:v>
                </c:pt>
                <c:pt idx="6">
                  <c:v>52.46</c:v>
                </c:pt>
              </c:numCache>
            </c:numRef>
          </c:yVal>
          <c:bubbleSize>
            <c:numRef>
              <c:f>Sheet1!$C$2:$C$8</c:f>
              <c:numCache>
                <c:formatCode>General</c:formatCode>
                <c:ptCount val="7"/>
                <c:pt idx="0">
                  <c:v>91166125</c:v>
                </c:pt>
                <c:pt idx="1">
                  <c:v>16169345</c:v>
                </c:pt>
                <c:pt idx="2">
                  <c:v>11875859</c:v>
                </c:pt>
                <c:pt idx="3">
                  <c:v>9268512</c:v>
                </c:pt>
                <c:pt idx="4">
                  <c:v>7397860</c:v>
                </c:pt>
                <c:pt idx="5">
                  <c:v>5504944</c:v>
                </c:pt>
                <c:pt idx="6">
                  <c:v>157341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Hawaiian Tropic</c:v>
                  </c:pt>
                  <c:pt idx="4">
                    <c:v>Banana Boat</c:v>
                  </c:pt>
                  <c:pt idx="5">
                    <c:v>La Roche-Posay</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799085-6059-44B2-8E92-0356D6A68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A5C7F4-7006-462D-B5FF-37D3BFC3A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F7023E-1659-4FD9-AD2B-9DCB7CE1C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4AF57F-A171-4CBA-A499-B79CFB922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C0B270-F6C4-4A0D-B80A-0DC9EA471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93A77A-09E9-451F-A79A-0B62F9C62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5E549D-DAF3-4A5C-9F65-31456681F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FFD1A4-1D30-418D-B404-C437082F3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1.95619999999997</c:v>
                </c:pt>
                <c:pt idx="1">
                  <c:v>580.10599999999999</c:v>
                </c:pt>
                <c:pt idx="2">
                  <c:v>243.3535</c:v>
                </c:pt>
                <c:pt idx="3">
                  <c:v>533.79150000000004</c:v>
                </c:pt>
                <c:pt idx="4">
                  <c:v>524.24919999999997</c:v>
                </c:pt>
                <c:pt idx="5">
                  <c:v>369.12920000000003</c:v>
                </c:pt>
                <c:pt idx="6">
                  <c:v>269.45240000000001</c:v>
                </c:pt>
              </c:numCache>
            </c:numRef>
          </c:xVal>
          <c:yVal>
            <c:numRef>
              <c:f>Sheet1!$B$2:$B$8</c:f>
              <c:numCache>
                <c:formatCode>General</c:formatCode>
                <c:ptCount val="7"/>
                <c:pt idx="0">
                  <c:v>1.123</c:v>
                </c:pt>
                <c:pt idx="1">
                  <c:v>1.3009999999999999</c:v>
                </c:pt>
                <c:pt idx="2">
                  <c:v>0.56799999999999995</c:v>
                </c:pt>
                <c:pt idx="3">
                  <c:v>1.8520000000000001</c:v>
                </c:pt>
                <c:pt idx="4">
                  <c:v>1.0369999999999999</c:v>
                </c:pt>
                <c:pt idx="5">
                  <c:v>1.389</c:v>
                </c:pt>
                <c:pt idx="6">
                  <c:v>0.51600000000000001</c:v>
                </c:pt>
              </c:numCache>
            </c:numRef>
          </c:yVal>
          <c:bubbleSize>
            <c:numRef>
              <c:f>Sheet1!$C$2:$C$8</c:f>
              <c:numCache>
                <c:formatCode>General</c:formatCode>
                <c:ptCount val="7"/>
                <c:pt idx="0">
                  <c:v>17135479</c:v>
                </c:pt>
                <c:pt idx="1">
                  <c:v>14920906</c:v>
                </c:pt>
                <c:pt idx="2">
                  <c:v>11123445</c:v>
                </c:pt>
                <c:pt idx="3">
                  <c:v>4767826</c:v>
                </c:pt>
                <c:pt idx="4">
                  <c:v>4638557</c:v>
                </c:pt>
                <c:pt idx="5">
                  <c:v>2334373</c:v>
                </c:pt>
                <c:pt idx="6">
                  <c:v>676056</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Avene</c:v>
                  </c:pt>
                  <c:pt idx="4">
                    <c:v>Eucerin</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1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EED09A-6557-4051-88BF-4C7E8F9A0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3BD67D-2020-4537-A5E4-85833CA01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E0CA22-7333-42D1-9D75-C17B3F8D7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ABF646-1553-41F9-A960-E97AA6308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B2134BB-AF72-4A91-BF71-F3C68632C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E7B8352-E8E7-48C0-8EB2-521562175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48E885F-1FA9-4EDA-9027-051E00DCA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93DE17-D014-41A8-93DD-4C998A1B1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82.49119999999999</c:v>
                </c:pt>
                <c:pt idx="1">
                  <c:v>268.608</c:v>
                </c:pt>
                <c:pt idx="2">
                  <c:v>267.48770000000002</c:v>
                </c:pt>
                <c:pt idx="3">
                  <c:v>574.69849999999997</c:v>
                </c:pt>
              </c:numCache>
            </c:numRef>
          </c:xVal>
          <c:yVal>
            <c:numRef>
              <c:f>Sheet1!$B$2:$B$5</c:f>
              <c:numCache>
                <c:formatCode>General</c:formatCode>
                <c:ptCount val="4"/>
                <c:pt idx="0">
                  <c:v>1.0109999999999999</c:v>
                </c:pt>
                <c:pt idx="1">
                  <c:v>0.998</c:v>
                </c:pt>
                <c:pt idx="2">
                  <c:v>0.90200000000000002</c:v>
                </c:pt>
                <c:pt idx="3">
                  <c:v>4.3159999999999998</c:v>
                </c:pt>
              </c:numCache>
            </c:numRef>
          </c:yVal>
          <c:bubbleSize>
            <c:numRef>
              <c:f>Sheet1!$C$2:$C$5</c:f>
              <c:numCache>
                <c:formatCode>General</c:formatCode>
                <c:ptCount val="4"/>
                <c:pt idx="0">
                  <c:v>46398891</c:v>
                </c:pt>
                <c:pt idx="1">
                  <c:v>39830266</c:v>
                </c:pt>
                <c:pt idx="2">
                  <c:v>38066705</c:v>
                </c:pt>
                <c:pt idx="3">
                  <c:v>328785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2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2AC82E-68FB-410C-94D2-A1E700850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0479C9-7189-46AE-8603-4F08111E3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077A41-4F98-43E1-A06D-1D6D13582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10B34C-908A-4FD0-951B-77BD6FC66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D1BD3B-5D22-4C15-B585-0161014B2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30B291-CDE1-4CBA-812C-B78EFE8CD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630D25-D551-400B-B5DC-4FAE3C717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3084D8-5FE4-4DF2-A4E3-868908F66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7157</c:v>
                </c:pt>
                <c:pt idx="1">
                  <c:v>289.75259999999997</c:v>
                </c:pt>
                <c:pt idx="2">
                  <c:v>237.35210000000001</c:v>
                </c:pt>
                <c:pt idx="3">
                  <c:v>241.79230000000001</c:v>
                </c:pt>
                <c:pt idx="4">
                  <c:v>605.11030000000005</c:v>
                </c:pt>
                <c:pt idx="5">
                  <c:v>84.542400000000001</c:v>
                </c:pt>
                <c:pt idx="6">
                  <c:v>74.712599999999995</c:v>
                </c:pt>
                <c:pt idx="7">
                  <c:v>608.33090000000004</c:v>
                </c:pt>
              </c:numCache>
            </c:numRef>
          </c:xVal>
          <c:yVal>
            <c:numRef>
              <c:f>Sheet1!$B$2:$B$9</c:f>
              <c:numCache>
                <c:formatCode>General</c:formatCode>
                <c:ptCount val="8"/>
                <c:pt idx="0">
                  <c:v>1.3149999999999999</c:v>
                </c:pt>
                <c:pt idx="1">
                  <c:v>1.9370000000000001</c:v>
                </c:pt>
                <c:pt idx="2">
                  <c:v>0.70399999999999996</c:v>
                </c:pt>
                <c:pt idx="3">
                  <c:v>0.64300000000000002</c:v>
                </c:pt>
                <c:pt idx="4">
                  <c:v>7.54</c:v>
                </c:pt>
                <c:pt idx="5">
                  <c:v>0.39500000000000002</c:v>
                </c:pt>
                <c:pt idx="6">
                  <c:v>0.377</c:v>
                </c:pt>
                <c:pt idx="7">
                  <c:v>4.6520000000000001</c:v>
                </c:pt>
              </c:numCache>
            </c:numRef>
          </c:yVal>
          <c:bubbleSize>
            <c:numRef>
              <c:f>Sheet1!$C$2:$C$9</c:f>
              <c:numCache>
                <c:formatCode>General</c:formatCode>
                <c:ptCount val="8"/>
                <c:pt idx="0">
                  <c:v>50208653</c:v>
                </c:pt>
                <c:pt idx="1">
                  <c:v>27303679</c:v>
                </c:pt>
                <c:pt idx="2">
                  <c:v>16480779</c:v>
                </c:pt>
                <c:pt idx="3">
                  <c:v>13895559</c:v>
                </c:pt>
                <c:pt idx="4">
                  <c:v>13297903</c:v>
                </c:pt>
                <c:pt idx="5">
                  <c:v>13020373</c:v>
                </c:pt>
                <c:pt idx="6">
                  <c:v>6583303</c:v>
                </c:pt>
                <c:pt idx="7">
                  <c:v>3386578</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Isdin</c:v>
                  </c:pt>
                  <c:pt idx="5">
                    <c:v>Caribbean Beach</c:v>
                  </c:pt>
                  <c:pt idx="6">
                    <c:v>Nuvel</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E1F463-76C0-4D2B-86BC-6F35357F7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F39797-A5CC-4E68-9D1E-1101CC6F7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D6A5EC-724F-4FAD-A6D9-166FDB80A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76B300-8B30-4720-917C-9EB7450F4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A070BF4-E332-4A5D-906C-4C652083F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7489A40-2D7E-4F18-9FB6-7B16E0447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3468AAB-8A89-4770-AB84-6F8074D21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3AAAA4D-0711-4836-A691-7D38E29FA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4.4376</c:v>
                </c:pt>
                <c:pt idx="1">
                  <c:v>229.61429999999999</c:v>
                </c:pt>
                <c:pt idx="2">
                  <c:v>155.37010000000001</c:v>
                </c:pt>
                <c:pt idx="3">
                  <c:v>227.98609999999999</c:v>
                </c:pt>
              </c:numCache>
            </c:numRef>
          </c:xVal>
          <c:yVal>
            <c:numRef>
              <c:f>Sheet1!$B$2:$B$5</c:f>
              <c:numCache>
                <c:formatCode>General</c:formatCode>
                <c:ptCount val="4"/>
                <c:pt idx="0">
                  <c:v>0.89</c:v>
                </c:pt>
                <c:pt idx="1">
                  <c:v>0.96199999999999997</c:v>
                </c:pt>
                <c:pt idx="2">
                  <c:v>0.78200000000000003</c:v>
                </c:pt>
                <c:pt idx="3">
                  <c:v>3.1680000000000001</c:v>
                </c:pt>
              </c:numCache>
            </c:numRef>
          </c:yVal>
          <c:bubbleSize>
            <c:numRef>
              <c:f>Sheet1!$C$2:$C$5</c:f>
              <c:numCache>
                <c:formatCode>General</c:formatCode>
                <c:ptCount val="4"/>
                <c:pt idx="0">
                  <c:v>32727980</c:v>
                </c:pt>
                <c:pt idx="1">
                  <c:v>32367575</c:v>
                </c:pt>
                <c:pt idx="2">
                  <c:v>7441762</c:v>
                </c:pt>
                <c:pt idx="3">
                  <c:v>3017624</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6"/>
          <c:min val="1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A4F85A-C493-4430-B0A0-9274F2413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8E1CA8-398F-43D1-9942-E61FCD4EC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5BF3BE-AB21-4AAF-8C54-C87906031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11AD9B-469D-4387-93A2-B13BD3EB1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AF4EC1-0DFC-4D3C-9224-D2BAE14C0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FC0C99-564A-471F-878C-454F67C0D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F71A29-2ECD-4E3B-8084-BF50EB730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CB15BC-EDB3-49A8-8583-26EBA4332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51330000000002</c:v>
                </c:pt>
                <c:pt idx="1">
                  <c:v>593.15440000000001</c:v>
                </c:pt>
                <c:pt idx="2">
                  <c:v>537.76139999999998</c:v>
                </c:pt>
                <c:pt idx="3">
                  <c:v>170.9725</c:v>
                </c:pt>
                <c:pt idx="4">
                  <c:v>135.572</c:v>
                </c:pt>
                <c:pt idx="5">
                  <c:v>557.71169999999995</c:v>
                </c:pt>
                <c:pt idx="6">
                  <c:v>439.13940000000002</c:v>
                </c:pt>
              </c:numCache>
            </c:numRef>
          </c:xVal>
          <c:yVal>
            <c:numRef>
              <c:f>Sheet1!$B$2:$B$8</c:f>
              <c:numCache>
                <c:formatCode>General</c:formatCode>
                <c:ptCount val="7"/>
                <c:pt idx="0">
                  <c:v>1.0049999999999999</c:v>
                </c:pt>
                <c:pt idx="1">
                  <c:v>1.7450000000000001</c:v>
                </c:pt>
                <c:pt idx="2">
                  <c:v>8.1189999999999998</c:v>
                </c:pt>
                <c:pt idx="3">
                  <c:v>0.52</c:v>
                </c:pt>
                <c:pt idx="4">
                  <c:v>0.313</c:v>
                </c:pt>
                <c:pt idx="5">
                  <c:v>8.9570000000000007</c:v>
                </c:pt>
                <c:pt idx="6">
                  <c:v>3.3319999999999999</c:v>
                </c:pt>
              </c:numCache>
            </c:numRef>
          </c:yVal>
          <c:bubbleSize>
            <c:numRef>
              <c:f>Sheet1!$C$2:$C$8</c:f>
              <c:numCache>
                <c:formatCode>General</c:formatCode>
                <c:ptCount val="7"/>
                <c:pt idx="0">
                  <c:v>18675262</c:v>
                </c:pt>
                <c:pt idx="1">
                  <c:v>3569010</c:v>
                </c:pt>
                <c:pt idx="2">
                  <c:v>2905525</c:v>
                </c:pt>
                <c:pt idx="3">
                  <c:v>1737764</c:v>
                </c:pt>
                <c:pt idx="4">
                  <c:v>1670789</c:v>
                </c:pt>
                <c:pt idx="5">
                  <c:v>924686</c:v>
                </c:pt>
                <c:pt idx="6">
                  <c:v>36229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Hawaiian Tropic</c:v>
                  </c:pt>
                  <c:pt idx="4">
                    <c:v>Banana Boat</c:v>
                  </c:pt>
                  <c:pt idx="5">
                    <c:v>La Roche-Posay</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2"/>
          <c:min val="10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1A644F-7745-4DCB-A5F5-9D17A688E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0B92ED-165A-412A-9FEE-279BD2522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08A8C7-81C3-41DA-98CD-BE18DD73C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F44AA6-787C-4697-AD1B-E8DD066E5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6C98C7-653E-4915-93EC-140ED8A8F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813AE1-8526-4670-AC34-A0F0DCF11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69156D-7F4D-43D7-A8DA-A3FE5E590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8638751-4F4A-42BD-B875-761F03419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97.21379999999999</c:v>
                </c:pt>
                <c:pt idx="1">
                  <c:v>592.08069999999998</c:v>
                </c:pt>
                <c:pt idx="2">
                  <c:v>245.92179999999999</c:v>
                </c:pt>
                <c:pt idx="3">
                  <c:v>524.37419999999997</c:v>
                </c:pt>
                <c:pt idx="4">
                  <c:v>527.82180000000005</c:v>
                </c:pt>
                <c:pt idx="5">
                  <c:v>392.76010000000002</c:v>
                </c:pt>
                <c:pt idx="6">
                  <c:v>271.24009999999998</c:v>
                </c:pt>
              </c:numCache>
            </c:numRef>
          </c:xVal>
          <c:yVal>
            <c:numRef>
              <c:f>Sheet1!$B$2:$B$8</c:f>
              <c:numCache>
                <c:formatCode>General</c:formatCode>
                <c:ptCount val="7"/>
                <c:pt idx="0">
                  <c:v>1.276</c:v>
                </c:pt>
                <c:pt idx="1">
                  <c:v>1.268</c:v>
                </c:pt>
                <c:pt idx="2">
                  <c:v>0.60099999999999998</c:v>
                </c:pt>
                <c:pt idx="3">
                  <c:v>1.06</c:v>
                </c:pt>
                <c:pt idx="4">
                  <c:v>3.38</c:v>
                </c:pt>
                <c:pt idx="5">
                  <c:v>1.738</c:v>
                </c:pt>
                <c:pt idx="6">
                  <c:v>0.52</c:v>
                </c:pt>
              </c:numCache>
            </c:numRef>
          </c:yVal>
          <c:bubbleSize>
            <c:numRef>
              <c:f>Sheet1!$C$2:$C$8</c:f>
              <c:numCache>
                <c:formatCode>General</c:formatCode>
                <c:ptCount val="7"/>
                <c:pt idx="0">
                  <c:v>3184941</c:v>
                </c:pt>
                <c:pt idx="1">
                  <c:v>2691007</c:v>
                </c:pt>
                <c:pt idx="2">
                  <c:v>2638741</c:v>
                </c:pt>
                <c:pt idx="3">
                  <c:v>1334008</c:v>
                </c:pt>
                <c:pt idx="4">
                  <c:v>562658</c:v>
                </c:pt>
                <c:pt idx="5">
                  <c:v>379799</c:v>
                </c:pt>
                <c:pt idx="6">
                  <c:v>259848</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Nivea</c:v>
                  </c:pt>
                  <c:pt idx="3">
                    <c:v>Eucerin</c:v>
                  </c:pt>
                  <c:pt idx="4">
                    <c:v>Avene</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7"/>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66EABE-D392-40C3-89E4-D7F174D61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0EB49A-BCCC-4BD9-9E7A-642297C57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5BAD0E-541D-45A1-A2FA-A6FD53D19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5A8623-65A1-4F6D-A0BE-4A5AAC2AB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55AF52-685C-4976-8C4B-2463CFBB0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8CA9177-EA13-4D4E-9A65-737A12E37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E59686C-65A9-4D0E-8FC9-668C18FE7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65E3289-C08E-4C66-BDE1-86E945D50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6.6112</c:v>
                </c:pt>
                <c:pt idx="1">
                  <c:v>257.62959999999998</c:v>
                </c:pt>
                <c:pt idx="2">
                  <c:v>270.70979999999997</c:v>
                </c:pt>
                <c:pt idx="3">
                  <c:v>571.76430000000005</c:v>
                </c:pt>
                <c:pt idx="4">
                  <c:v>686.59450000000004</c:v>
                </c:pt>
              </c:numCache>
            </c:numRef>
          </c:xVal>
          <c:yVal>
            <c:numRef>
              <c:f>Sheet1!$B$2:$B$6</c:f>
              <c:numCache>
                <c:formatCode>General</c:formatCode>
                <c:ptCount val="5"/>
                <c:pt idx="0">
                  <c:v>1.018</c:v>
                </c:pt>
                <c:pt idx="1">
                  <c:v>1.01</c:v>
                </c:pt>
                <c:pt idx="2">
                  <c:v>0.83699999999999997</c:v>
                </c:pt>
                <c:pt idx="3">
                  <c:v>4.298</c:v>
                </c:pt>
                <c:pt idx="4">
                  <c:v>2.6339999999999999</c:v>
                </c:pt>
              </c:numCache>
            </c:numRef>
          </c:yVal>
          <c:bubbleSize>
            <c:numRef>
              <c:f>Sheet1!$C$2:$C$6</c:f>
              <c:numCache>
                <c:formatCode>General</c:formatCode>
                <c:ptCount val="5"/>
                <c:pt idx="0">
                  <c:v>8288101</c:v>
                </c:pt>
                <c:pt idx="1">
                  <c:v>5468446</c:v>
                </c:pt>
                <c:pt idx="2">
                  <c:v>5208456</c:v>
                </c:pt>
                <c:pt idx="3">
                  <c:v>909677</c:v>
                </c:pt>
                <c:pt idx="4">
                  <c:v>34879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4"/>
          <c:min val="2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6D9CA3-11D5-4587-B43F-6C715B573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EECF34-8542-4B25-9D3B-2BDA5D9C8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CB8119-EB84-48D8-AEE1-0AE8248F3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2B4D22-6716-4F47-9E96-B36F9243B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B86D83-0503-4923-9828-2A31B1D27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78FB06-FAEF-4381-8F75-A5A07BF84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85EF6E-B4B1-4E4F-9D34-DAA608F09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11E955-5B38-4198-961D-70CCA510C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2595</c:v>
                </c:pt>
                <c:pt idx="1">
                  <c:v>197.44280000000001</c:v>
                </c:pt>
                <c:pt idx="2">
                  <c:v>215.5523</c:v>
                </c:pt>
                <c:pt idx="3">
                  <c:v>289.48630000000003</c:v>
                </c:pt>
                <c:pt idx="4">
                  <c:v>591.12919999999997</c:v>
                </c:pt>
                <c:pt idx="5">
                  <c:v>84.318799999999996</c:v>
                </c:pt>
                <c:pt idx="6">
                  <c:v>567.71749999999997</c:v>
                </c:pt>
                <c:pt idx="7">
                  <c:v>227.98609999999999</c:v>
                </c:pt>
              </c:numCache>
            </c:numRef>
          </c:xVal>
          <c:yVal>
            <c:numRef>
              <c:f>Sheet1!$B$2:$B$9</c:f>
              <c:numCache>
                <c:formatCode>General</c:formatCode>
                <c:ptCount val="8"/>
                <c:pt idx="0">
                  <c:v>1.0369999999999999</c:v>
                </c:pt>
                <c:pt idx="1">
                  <c:v>0.745</c:v>
                </c:pt>
                <c:pt idx="2">
                  <c:v>0.69</c:v>
                </c:pt>
                <c:pt idx="3">
                  <c:v>2.0459999999999998</c:v>
                </c:pt>
                <c:pt idx="4">
                  <c:v>4.2460000000000004</c:v>
                </c:pt>
                <c:pt idx="5">
                  <c:v>0.40500000000000003</c:v>
                </c:pt>
                <c:pt idx="6">
                  <c:v>4.907</c:v>
                </c:pt>
                <c:pt idx="7">
                  <c:v>2.7189999999999999</c:v>
                </c:pt>
              </c:numCache>
            </c:numRef>
          </c:yVal>
          <c:bubbleSize>
            <c:numRef>
              <c:f>Sheet1!$C$2:$C$9</c:f>
              <c:numCache>
                <c:formatCode>General</c:formatCode>
                <c:ptCount val="8"/>
                <c:pt idx="0">
                  <c:v>113249134</c:v>
                </c:pt>
                <c:pt idx="1">
                  <c:v>58289864</c:v>
                </c:pt>
                <c:pt idx="2">
                  <c:v>41961776</c:v>
                </c:pt>
                <c:pt idx="3">
                  <c:v>28274994</c:v>
                </c:pt>
                <c:pt idx="4">
                  <c:v>25478849</c:v>
                </c:pt>
                <c:pt idx="5">
                  <c:v>13081218</c:v>
                </c:pt>
                <c:pt idx="6">
                  <c:v>9442278</c:v>
                </c:pt>
                <c:pt idx="7">
                  <c:v>30176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1D1850-F37E-40D8-91F2-18D95245A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BECF52-52CF-4AB6-983C-FD41DBCC8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E0C3E0-042E-43CD-B9D5-2D3F96E63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8D98C3-5047-4929-BB18-7D90CFC1B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08442E-5D1C-4635-929F-963614764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151CBE-4A36-48AB-94C8-7CADF32D2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88BC57-480B-43DB-B35F-7511249DF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3479FA-A901-4899-8FB0-1E7538E0F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1934</c:v>
                </c:pt>
                <c:pt idx="1">
                  <c:v>221.48009999999999</c:v>
                </c:pt>
                <c:pt idx="2">
                  <c:v>230.29810000000001</c:v>
                </c:pt>
                <c:pt idx="3">
                  <c:v>282.05270000000002</c:v>
                </c:pt>
                <c:pt idx="4">
                  <c:v>87.403199999999998</c:v>
                </c:pt>
                <c:pt idx="5">
                  <c:v>605.09690000000001</c:v>
                </c:pt>
                <c:pt idx="6">
                  <c:v>73.717100000000002</c:v>
                </c:pt>
                <c:pt idx="7">
                  <c:v>156.0933</c:v>
                </c:pt>
              </c:numCache>
            </c:numRef>
          </c:xVal>
          <c:yVal>
            <c:numRef>
              <c:f>Sheet1!$B$2:$B$9</c:f>
              <c:numCache>
                <c:formatCode>General</c:formatCode>
                <c:ptCount val="8"/>
                <c:pt idx="0">
                  <c:v>1.129</c:v>
                </c:pt>
                <c:pt idx="1">
                  <c:v>0.85299999999999998</c:v>
                </c:pt>
                <c:pt idx="2">
                  <c:v>0.872</c:v>
                </c:pt>
                <c:pt idx="3">
                  <c:v>2.0840000000000001</c:v>
                </c:pt>
                <c:pt idx="4">
                  <c:v>0.47299999999999998</c:v>
                </c:pt>
                <c:pt idx="5">
                  <c:v>4.97</c:v>
                </c:pt>
                <c:pt idx="6">
                  <c:v>0.44600000000000001</c:v>
                </c:pt>
                <c:pt idx="7">
                  <c:v>2.2490000000000001</c:v>
                </c:pt>
              </c:numCache>
            </c:numRef>
          </c:yVal>
          <c:bubbleSize>
            <c:numRef>
              <c:f>Sheet1!$C$2:$C$9</c:f>
              <c:numCache>
                <c:formatCode>General</c:formatCode>
                <c:ptCount val="8"/>
                <c:pt idx="0">
                  <c:v>106919192</c:v>
                </c:pt>
                <c:pt idx="1">
                  <c:v>45886031</c:v>
                </c:pt>
                <c:pt idx="2">
                  <c:v>33832400</c:v>
                </c:pt>
                <c:pt idx="3">
                  <c:v>13126731</c:v>
                </c:pt>
                <c:pt idx="4">
                  <c:v>10154333</c:v>
                </c:pt>
                <c:pt idx="5">
                  <c:v>3786091</c:v>
                </c:pt>
                <c:pt idx="6">
                  <c:v>3202788</c:v>
                </c:pt>
                <c:pt idx="7">
                  <c:v>223447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Caribbean Beach</c:v>
                  </c:pt>
                  <c:pt idx="5">
                    <c:v>Isdin</c:v>
                  </c:pt>
                  <c:pt idx="6">
                    <c:v>Nuve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5B7A1F-2BCE-4254-A5E4-30704C2D2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6908B5-E6BE-4E11-8C00-DE3AECF18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7265E3-F37A-4F8B-A900-3A67D4297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A2824F-381B-4422-AC6C-EDA5F5C79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B779F4-C2B9-4462-9D71-AA9713840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29E10D-623B-4DD5-8418-CA37FA393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54FB53-D0A1-402F-AE1D-8DF95AFD0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89B21FF-5ADA-4652-9033-5FB8A28F9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8622</c:v>
                </c:pt>
                <c:pt idx="1">
                  <c:v>557.1028</c:v>
                </c:pt>
                <c:pt idx="2">
                  <c:v>292.4117</c:v>
                </c:pt>
                <c:pt idx="3">
                  <c:v>233.63380000000001</c:v>
                </c:pt>
                <c:pt idx="4">
                  <c:v>83.241100000000003</c:v>
                </c:pt>
                <c:pt idx="5">
                  <c:v>229.74270000000001</c:v>
                </c:pt>
                <c:pt idx="6">
                  <c:v>503.99790000000002</c:v>
                </c:pt>
                <c:pt idx="7">
                  <c:v>610.58199999999999</c:v>
                </c:pt>
              </c:numCache>
            </c:numRef>
          </c:xVal>
          <c:yVal>
            <c:numRef>
              <c:f>Sheet1!$B$2:$B$9</c:f>
              <c:numCache>
                <c:formatCode>General</c:formatCode>
                <c:ptCount val="8"/>
                <c:pt idx="0">
                  <c:v>1.1379999999999999</c:v>
                </c:pt>
                <c:pt idx="1">
                  <c:v>5.6130000000000004</c:v>
                </c:pt>
                <c:pt idx="2">
                  <c:v>1.6160000000000001</c:v>
                </c:pt>
                <c:pt idx="3">
                  <c:v>0.504</c:v>
                </c:pt>
                <c:pt idx="4">
                  <c:v>0.32300000000000001</c:v>
                </c:pt>
                <c:pt idx="5">
                  <c:v>0.56899999999999995</c:v>
                </c:pt>
                <c:pt idx="6">
                  <c:v>3.5339999999999998</c:v>
                </c:pt>
                <c:pt idx="7">
                  <c:v>5.6070000000000002</c:v>
                </c:pt>
              </c:numCache>
            </c:numRef>
          </c:yVal>
          <c:bubbleSize>
            <c:numRef>
              <c:f>Sheet1!$C$2:$C$9</c:f>
              <c:numCache>
                <c:formatCode>General</c:formatCode>
                <c:ptCount val="8"/>
                <c:pt idx="0">
                  <c:v>37755157</c:v>
                </c:pt>
                <c:pt idx="1">
                  <c:v>21833973</c:v>
                </c:pt>
                <c:pt idx="2">
                  <c:v>19050625</c:v>
                </c:pt>
                <c:pt idx="3">
                  <c:v>10213069</c:v>
                </c:pt>
                <c:pt idx="4">
                  <c:v>9481823</c:v>
                </c:pt>
                <c:pt idx="5">
                  <c:v>8687950</c:v>
                </c:pt>
                <c:pt idx="6">
                  <c:v>6103415</c:v>
                </c:pt>
                <c:pt idx="7">
                  <c:v>581213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Neutrogena</c:v>
                  </c:pt>
                  <c:pt idx="3">
                    <c:v>Banana Boat</c:v>
                  </c:pt>
                  <c:pt idx="4">
                    <c:v>Caribbean Beach</c:v>
                  </c:pt>
                  <c:pt idx="5">
                    <c:v>Hawaiian Tropic</c:v>
                  </c:pt>
                  <c:pt idx="6">
                    <c:v>Avene</c:v>
                  </c:pt>
                  <c:pt idx="7">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C55A2B-6A14-45CB-AF4E-54F40D7A4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76B5AB-8F0F-4334-838F-6CC92AAFF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375FDE-C958-4EB5-A22C-1F7BC5823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F8E163-7424-44DF-B1E8-298252874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8E89EE-03CD-4F82-8CF9-9B8A0880E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DCC626-D200-45BB-8EC9-03A0B2ED4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BD540A3-149D-4F3E-96A3-6FF2F1998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020394-5E48-4DD8-BC10-CF1240228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62960000000001</c:v>
                </c:pt>
                <c:pt idx="1">
                  <c:v>228.48439999999999</c:v>
                </c:pt>
                <c:pt idx="2">
                  <c:v>125.84229999999999</c:v>
                </c:pt>
                <c:pt idx="3">
                  <c:v>220.01349999999999</c:v>
                </c:pt>
                <c:pt idx="4">
                  <c:v>546.37030000000004</c:v>
                </c:pt>
                <c:pt idx="5">
                  <c:v>488.51229999999998</c:v>
                </c:pt>
              </c:numCache>
            </c:numRef>
          </c:xVal>
          <c:yVal>
            <c:numRef>
              <c:f>Sheet1!$B$2:$B$7</c:f>
              <c:numCache>
                <c:formatCode>General</c:formatCode>
                <c:ptCount val="6"/>
                <c:pt idx="0">
                  <c:v>0.84299999999999997</c:v>
                </c:pt>
                <c:pt idx="1">
                  <c:v>0.95399999999999996</c:v>
                </c:pt>
                <c:pt idx="2">
                  <c:v>0.82499999999999996</c:v>
                </c:pt>
                <c:pt idx="3">
                  <c:v>3.1019999999999999</c:v>
                </c:pt>
                <c:pt idx="4">
                  <c:v>5.0730000000000004</c:v>
                </c:pt>
                <c:pt idx="5">
                  <c:v>2.99</c:v>
                </c:pt>
              </c:numCache>
            </c:numRef>
          </c:yVal>
          <c:bubbleSize>
            <c:numRef>
              <c:f>Sheet1!$C$2:$C$7</c:f>
              <c:numCache>
                <c:formatCode>General</c:formatCode>
                <c:ptCount val="6"/>
                <c:pt idx="0">
                  <c:v>19872067</c:v>
                </c:pt>
                <c:pt idx="1">
                  <c:v>19481266</c:v>
                </c:pt>
                <c:pt idx="2">
                  <c:v>5647804</c:v>
                </c:pt>
                <c:pt idx="3">
                  <c:v>1917198</c:v>
                </c:pt>
                <c:pt idx="4">
                  <c:v>979642</c:v>
                </c:pt>
                <c:pt idx="5">
                  <c:v>635066</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Beauty Care</c:v>
                  </c:pt>
                  <c:pt idx="4">
                    <c:v>La Roche-Posay</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56"/>
          <c:min val="10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11164F-53EA-4A07-AD1D-764B29EA7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DE4EE9-F2E2-4EF0-9E7A-1F6C1FEEB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C79FA0-DBC5-4ACF-AFD2-B52856760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4E0806-EF32-4864-9A2E-407CEC03F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23C347-A6CC-4071-A757-899ECB38B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AACDA8-D164-4238-B0E3-DD2A268C7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084097-1346-4CE7-A028-5BA6F514C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AD80DB-7EE7-44E9-B34B-E4238DF0A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1.18689999999998</c:v>
                </c:pt>
                <c:pt idx="1">
                  <c:v>568.3691</c:v>
                </c:pt>
                <c:pt idx="2">
                  <c:v>567.94410000000005</c:v>
                </c:pt>
                <c:pt idx="3">
                  <c:v>524.35059999999999</c:v>
                </c:pt>
                <c:pt idx="4">
                  <c:v>126.7676</c:v>
                </c:pt>
                <c:pt idx="5">
                  <c:v>148.7473</c:v>
                </c:pt>
                <c:pt idx="6">
                  <c:v>484.17680000000001</c:v>
                </c:pt>
                <c:pt idx="7">
                  <c:v>503.7749</c:v>
                </c:pt>
              </c:numCache>
            </c:numRef>
          </c:xVal>
          <c:yVal>
            <c:numRef>
              <c:f>Sheet1!$B$2:$B$9</c:f>
              <c:numCache>
                <c:formatCode>General</c:formatCode>
                <c:ptCount val="8"/>
                <c:pt idx="0">
                  <c:v>0.79200000000000004</c:v>
                </c:pt>
                <c:pt idx="1">
                  <c:v>1.3979999999999999</c:v>
                </c:pt>
                <c:pt idx="2">
                  <c:v>6.423</c:v>
                </c:pt>
                <c:pt idx="3">
                  <c:v>6.2460000000000004</c:v>
                </c:pt>
                <c:pt idx="4">
                  <c:v>0.27300000000000002</c:v>
                </c:pt>
                <c:pt idx="5">
                  <c:v>0.35399999999999998</c:v>
                </c:pt>
                <c:pt idx="6">
                  <c:v>17.97</c:v>
                </c:pt>
                <c:pt idx="7">
                  <c:v>3.1840000000000002</c:v>
                </c:pt>
              </c:numCache>
            </c:numRef>
          </c:yVal>
          <c:bubbleSize>
            <c:numRef>
              <c:f>Sheet1!$C$2:$C$9</c:f>
              <c:numCache>
                <c:formatCode>General</c:formatCode>
                <c:ptCount val="8"/>
                <c:pt idx="0">
                  <c:v>13823058</c:v>
                </c:pt>
                <c:pt idx="1">
                  <c:v>4669152</c:v>
                </c:pt>
                <c:pt idx="2">
                  <c:v>4132361</c:v>
                </c:pt>
                <c:pt idx="3">
                  <c:v>2020323</c:v>
                </c:pt>
                <c:pt idx="4">
                  <c:v>933136</c:v>
                </c:pt>
                <c:pt idx="5">
                  <c:v>672784</c:v>
                </c:pt>
                <c:pt idx="6">
                  <c:v>635240</c:v>
                </c:pt>
                <c:pt idx="7">
                  <c:v>39395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Banana Boat</c:v>
                  </c:pt>
                  <c:pt idx="5">
                    <c:v>Hawaiian Tropic</c:v>
                  </c:pt>
                  <c:pt idx="6">
                    <c:v>Photoderm</c:v>
                  </c:pt>
                  <c:pt idx="7">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2"/>
          <c:min val="10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1EC701-7DB9-4CB2-B503-5ED3CAC50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C9E7DE-2B4A-4F06-ADBB-26778F567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2857DD-7BB2-429B-8758-ED669905A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588A09-221B-4569-A148-345CD13AD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37077B-C964-436F-A3CB-2C8A72E60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304B25-9372-4D53-8C20-EE9F1A8F9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1463EE-E968-416D-89AD-5E6159469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811AC6F-1839-4989-A9BD-3604E7B83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28.62750000000005</c:v>
                </c:pt>
                <c:pt idx="1">
                  <c:v>549.80380000000002</c:v>
                </c:pt>
                <c:pt idx="2">
                  <c:v>529.0403</c:v>
                </c:pt>
                <c:pt idx="3">
                  <c:v>233.2843</c:v>
                </c:pt>
                <c:pt idx="4">
                  <c:v>529.23760000000004</c:v>
                </c:pt>
                <c:pt idx="5">
                  <c:v>362.66230000000002</c:v>
                </c:pt>
                <c:pt idx="6">
                  <c:v>263.1961</c:v>
                </c:pt>
              </c:numCache>
            </c:numRef>
          </c:xVal>
          <c:yVal>
            <c:numRef>
              <c:f>Sheet1!$B$2:$B$8</c:f>
              <c:numCache>
                <c:formatCode>General</c:formatCode>
                <c:ptCount val="7"/>
                <c:pt idx="0">
                  <c:v>1.0289999999999999</c:v>
                </c:pt>
                <c:pt idx="1">
                  <c:v>1.105</c:v>
                </c:pt>
                <c:pt idx="2">
                  <c:v>1.228</c:v>
                </c:pt>
                <c:pt idx="3">
                  <c:v>0.55500000000000005</c:v>
                </c:pt>
                <c:pt idx="4">
                  <c:v>1.0680000000000001</c:v>
                </c:pt>
                <c:pt idx="5">
                  <c:v>1.175</c:v>
                </c:pt>
                <c:pt idx="6">
                  <c:v>0.54700000000000004</c:v>
                </c:pt>
              </c:numCache>
            </c:numRef>
          </c:yVal>
          <c:bubbleSize>
            <c:numRef>
              <c:f>Sheet1!$C$2:$C$8</c:f>
              <c:numCache>
                <c:formatCode>General</c:formatCode>
                <c:ptCount val="7"/>
                <c:pt idx="0">
                  <c:v>8379275</c:v>
                </c:pt>
                <c:pt idx="1">
                  <c:v>5299559</c:v>
                </c:pt>
                <c:pt idx="2">
                  <c:v>2663718</c:v>
                </c:pt>
                <c:pt idx="3">
                  <c:v>2100492</c:v>
                </c:pt>
                <c:pt idx="4">
                  <c:v>1220422</c:v>
                </c:pt>
                <c:pt idx="5">
                  <c:v>803297</c:v>
                </c:pt>
                <c:pt idx="6">
                  <c:v>81854</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Nivea</c:v>
                  </c:pt>
                  <c:pt idx="4">
                    <c:v>Eucerin</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0"/>
          <c:min val="18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DA51DD-B8D7-4846-AE81-DB8FF6ECB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1DA339-250C-4D63-AF2B-04C416FAE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DCA9F3-88EB-4EF7-9A44-5D8D7C919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D03CF2-BF0D-4E85-B9F2-87B59A4DF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68E07A-CD02-4598-8330-9D89FB45E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3CC222-7949-409B-85D3-7D9D53648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1A4E7E9-235A-4692-88F5-F83A927F9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473B84A-F97C-4615-BBA0-E9F0026A1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35409999999999</c:v>
                </c:pt>
                <c:pt idx="1">
                  <c:v>282.93849999999998</c:v>
                </c:pt>
                <c:pt idx="2">
                  <c:v>240.31950000000001</c:v>
                </c:pt>
                <c:pt idx="3">
                  <c:v>565.61289999999997</c:v>
                </c:pt>
                <c:pt idx="4">
                  <c:v>670.11059999999998</c:v>
                </c:pt>
                <c:pt idx="5">
                  <c:v>531.4</c:v>
                </c:pt>
              </c:numCache>
            </c:numRef>
          </c:xVal>
          <c:yVal>
            <c:numRef>
              <c:f>Sheet1!$B$2:$B$7</c:f>
              <c:numCache>
                <c:formatCode>General</c:formatCode>
                <c:ptCount val="6"/>
                <c:pt idx="0">
                  <c:v>0.81100000000000005</c:v>
                </c:pt>
                <c:pt idx="1">
                  <c:v>1.0129999999999999</c:v>
                </c:pt>
                <c:pt idx="2">
                  <c:v>0.89900000000000002</c:v>
                </c:pt>
                <c:pt idx="3">
                  <c:v>4.1340000000000003</c:v>
                </c:pt>
                <c:pt idx="4">
                  <c:v>2.5720000000000001</c:v>
                </c:pt>
                <c:pt idx="5">
                  <c:v>2.0819999999999999</c:v>
                </c:pt>
              </c:numCache>
            </c:numRef>
          </c:yVal>
          <c:bubbleSize>
            <c:numRef>
              <c:f>Sheet1!$C$2:$C$7</c:f>
              <c:numCache>
                <c:formatCode>General</c:formatCode>
                <c:ptCount val="6"/>
                <c:pt idx="0">
                  <c:v>4361752</c:v>
                </c:pt>
                <c:pt idx="1">
                  <c:v>4217482</c:v>
                </c:pt>
                <c:pt idx="2">
                  <c:v>3981133</c:v>
                </c:pt>
                <c:pt idx="3">
                  <c:v>914596</c:v>
                </c:pt>
                <c:pt idx="4">
                  <c:v>478459</c:v>
                </c:pt>
                <c:pt idx="5">
                  <c:v>281642</c:v>
                </c:pt>
              </c:numCache>
            </c:numRef>
          </c:bubbleSize>
          <c:bubble3D val="0"/>
          <c:extLst>
            <c:ext xmlns:c15="http://schemas.microsoft.com/office/drawing/2012/chart" uri="{02D57815-91ED-43cb-92C2-25804820EDAC}">
              <c15:datalabelsRange>
                <c15:f>Sheet1!$E$2:$E$10</c15:f>
                <c15:dlblRangeCache>
                  <c:ptCount val="9"/>
                  <c:pt idx="0">
                    <c:v>Banana Boat</c:v>
                  </c:pt>
                  <c:pt idx="1">
                    <c:v>Nivea</c:v>
                  </c:pt>
                  <c:pt idx="2">
                    <c:v>Hawaiian Tropic</c:v>
                  </c:pt>
                  <c:pt idx="3">
                    <c:v>Isdin</c:v>
                  </c:pt>
                  <c:pt idx="4">
                    <c:v>Vichy</c:v>
                  </c:pt>
                  <c:pt idx="5">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4"/>
          <c:min val="19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2B8A7C-6377-446D-9F6C-1C79B1A79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9756E8-6918-4F2B-BFC3-A5E59F275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5B24B0-6B81-4538-9A28-B52B4CE16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EE77B1C-69ED-47FA-9EBE-9CFFAE78D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B0BFB2-65A6-4684-964A-58B2C62C9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C28ED3-0999-4EA8-B55B-1F22116BC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719362E-2EC9-4830-AE72-058E9ED6D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FD6DE5-7987-4A03-B0F4-1C9456E00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3.97730000000001</c:v>
                </c:pt>
                <c:pt idx="1">
                  <c:v>243.59569999999999</c:v>
                </c:pt>
                <c:pt idx="2">
                  <c:v>280.85379999999998</c:v>
                </c:pt>
                <c:pt idx="3">
                  <c:v>87.398799999999994</c:v>
                </c:pt>
                <c:pt idx="4">
                  <c:v>229.4393</c:v>
                </c:pt>
                <c:pt idx="5">
                  <c:v>73.717100000000002</c:v>
                </c:pt>
                <c:pt idx="6">
                  <c:v>609.80110000000002</c:v>
                </c:pt>
                <c:pt idx="7">
                  <c:v>314.01530000000002</c:v>
                </c:pt>
              </c:numCache>
            </c:numRef>
          </c:xVal>
          <c:yVal>
            <c:numRef>
              <c:f>Sheet1!$B$2:$B$9</c:f>
              <c:numCache>
                <c:formatCode>General</c:formatCode>
                <c:ptCount val="8"/>
                <c:pt idx="0">
                  <c:v>1.476</c:v>
                </c:pt>
                <c:pt idx="1">
                  <c:v>0.85599999999999998</c:v>
                </c:pt>
                <c:pt idx="2">
                  <c:v>2.1349999999999998</c:v>
                </c:pt>
                <c:pt idx="3">
                  <c:v>0.49099999999999999</c:v>
                </c:pt>
                <c:pt idx="4">
                  <c:v>0.77900000000000003</c:v>
                </c:pt>
                <c:pt idx="5">
                  <c:v>0.46400000000000002</c:v>
                </c:pt>
                <c:pt idx="6">
                  <c:v>12.891</c:v>
                </c:pt>
                <c:pt idx="7">
                  <c:v>2.7770000000000001</c:v>
                </c:pt>
              </c:numCache>
            </c:numRef>
          </c:yVal>
          <c:bubbleSize>
            <c:numRef>
              <c:f>Sheet1!$C$2:$C$9</c:f>
              <c:numCache>
                <c:formatCode>General</c:formatCode>
                <c:ptCount val="8"/>
                <c:pt idx="0">
                  <c:v>39156801</c:v>
                </c:pt>
                <c:pt idx="1">
                  <c:v>13549521</c:v>
                </c:pt>
                <c:pt idx="2">
                  <c:v>12857206</c:v>
                </c:pt>
                <c:pt idx="3">
                  <c:v>10152939</c:v>
                </c:pt>
                <c:pt idx="4">
                  <c:v>9754842</c:v>
                </c:pt>
                <c:pt idx="5">
                  <c:v>3202788</c:v>
                </c:pt>
                <c:pt idx="6">
                  <c:v>1489744</c:v>
                </c:pt>
                <c:pt idx="7">
                  <c:v>129499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Neutrogena</c:v>
                  </c:pt>
                  <c:pt idx="3">
                    <c:v>Caribbean Beach</c:v>
                  </c:pt>
                  <c:pt idx="4">
                    <c:v>Banana Boat</c:v>
                  </c:pt>
                  <c:pt idx="5">
                    <c:v>Nuvel</c:v>
                  </c:pt>
                  <c:pt idx="6">
                    <c:v>Isdin</c:v>
                  </c:pt>
                  <c:pt idx="7">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2"/>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A6517A-E26B-4489-BDFF-D6A8D354E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F40538-1A01-4584-B395-D8B9D1E82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9157ED-1B22-4D39-95A5-DB5B53420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154E26-AC77-4D9F-8DE8-46DB7C44B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DA9235-38B8-4A78-B54E-7EB463A19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B854765-E3AC-41C1-90B6-7120B79A3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6566A7-9838-4EDB-91A1-11CAD90ED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EE5A93-16B1-438B-B2B3-80C42B055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27.62569999999999</c:v>
                </c:pt>
                <c:pt idx="1">
                  <c:v>198.30019999999999</c:v>
                </c:pt>
                <c:pt idx="2">
                  <c:v>173.0787</c:v>
                </c:pt>
                <c:pt idx="3">
                  <c:v>156.0933</c:v>
                </c:pt>
                <c:pt idx="4">
                  <c:v>241.49350000000001</c:v>
                </c:pt>
              </c:numCache>
            </c:numRef>
          </c:xVal>
          <c:yVal>
            <c:numRef>
              <c:f>Sheet1!$B$2:$B$6</c:f>
              <c:numCache>
                <c:formatCode>General</c:formatCode>
                <c:ptCount val="5"/>
                <c:pt idx="0">
                  <c:v>1.004</c:v>
                </c:pt>
                <c:pt idx="1">
                  <c:v>0.875</c:v>
                </c:pt>
                <c:pt idx="2">
                  <c:v>0.875</c:v>
                </c:pt>
                <c:pt idx="3">
                  <c:v>2.3980000000000001</c:v>
                </c:pt>
                <c:pt idx="4">
                  <c:v>0.90800000000000003</c:v>
                </c:pt>
              </c:numCache>
            </c:numRef>
          </c:yVal>
          <c:bubbleSize>
            <c:numRef>
              <c:f>Sheet1!$C$2:$C$6</c:f>
              <c:numCache>
                <c:formatCode>General</c:formatCode>
                <c:ptCount val="5"/>
                <c:pt idx="0">
                  <c:v>33943091</c:v>
                </c:pt>
                <c:pt idx="1">
                  <c:v>23165034</c:v>
                </c:pt>
                <c:pt idx="2">
                  <c:v>3444094</c:v>
                </c:pt>
                <c:pt idx="3">
                  <c:v>2234476</c:v>
                </c:pt>
                <c:pt idx="4">
                  <c:v>70129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pt idx="4">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
          <c:min val="1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A11D00-D364-4C43-B7AE-FAB1A2A4F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4F477A-4711-46EF-91E8-B1F9AF5D1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666351-BF11-4CC9-AA6F-BDCAE76C8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81439F-E1EC-4E4E-A13F-78185013E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152957-CDA4-41BA-9EE3-C7A5A27E8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BF5E1CB-3A9D-4619-BA2F-24EFF3C87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AE1A640-732D-4321-99B5-A87660CD4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21DEC1-3607-4991-BFDA-01EEF443E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7.07990000000001</c:v>
                </c:pt>
                <c:pt idx="1">
                  <c:v>150.4076</c:v>
                </c:pt>
                <c:pt idx="2">
                  <c:v>131.8665</c:v>
                </c:pt>
                <c:pt idx="3">
                  <c:v>598.67769999999996</c:v>
                </c:pt>
                <c:pt idx="4">
                  <c:v>519.697</c:v>
                </c:pt>
              </c:numCache>
            </c:numRef>
          </c:xVal>
          <c:yVal>
            <c:numRef>
              <c:f>Sheet1!$B$2:$B$6</c:f>
              <c:numCache>
                <c:formatCode>General</c:formatCode>
                <c:ptCount val="5"/>
                <c:pt idx="0">
                  <c:v>1.224</c:v>
                </c:pt>
                <c:pt idx="1">
                  <c:v>0.57199999999999995</c:v>
                </c:pt>
                <c:pt idx="2">
                  <c:v>0.38700000000000001</c:v>
                </c:pt>
                <c:pt idx="3">
                  <c:v>2.25</c:v>
                </c:pt>
                <c:pt idx="4">
                  <c:v>9.4689999999999994</c:v>
                </c:pt>
              </c:numCache>
            </c:numRef>
          </c:yVal>
          <c:bubbleSize>
            <c:numRef>
              <c:f>Sheet1!$C$2:$C$6</c:f>
              <c:numCache>
                <c:formatCode>General</c:formatCode>
                <c:ptCount val="5"/>
                <c:pt idx="0">
                  <c:v>20540249</c:v>
                </c:pt>
                <c:pt idx="1">
                  <c:v>2871732</c:v>
                </c:pt>
                <c:pt idx="2">
                  <c:v>1293742</c:v>
                </c:pt>
                <c:pt idx="3">
                  <c:v>705841</c:v>
                </c:pt>
                <c:pt idx="4">
                  <c:v>57114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0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32D476-77D2-467C-9733-07A002DAE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7C15F7-F900-4294-82F2-F8B86B97C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49C57D-B5CE-404A-9EF3-1BB0E1F30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76F5E6-2C7A-4571-84FC-EFE07879B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3B3DCC-AE9F-44B2-B1C6-9AEE93AE6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9C5A4F-F408-4B2E-A834-4D0B630D7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E55449-2A53-49DC-A712-0ECF3FA09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FECC87-5BFA-47A4-9ECC-F4AE1BF2A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9.71459999999999</c:v>
                </c:pt>
                <c:pt idx="1">
                  <c:v>617.13969999999995</c:v>
                </c:pt>
                <c:pt idx="2">
                  <c:v>464.42110000000002</c:v>
                </c:pt>
                <c:pt idx="3">
                  <c:v>530.04229999999995</c:v>
                </c:pt>
                <c:pt idx="4">
                  <c:v>298.69970000000001</c:v>
                </c:pt>
                <c:pt idx="5">
                  <c:v>261.82249999999999</c:v>
                </c:pt>
                <c:pt idx="6">
                  <c:v>609.02700000000004</c:v>
                </c:pt>
              </c:numCache>
            </c:numRef>
          </c:xVal>
          <c:yVal>
            <c:numRef>
              <c:f>Sheet1!$B$2:$B$8</c:f>
              <c:numCache>
                <c:formatCode>General</c:formatCode>
                <c:ptCount val="7"/>
                <c:pt idx="0">
                  <c:v>0.69</c:v>
                </c:pt>
                <c:pt idx="1">
                  <c:v>12.285</c:v>
                </c:pt>
                <c:pt idx="2">
                  <c:v>1.4259999999999999</c:v>
                </c:pt>
                <c:pt idx="3">
                  <c:v>3.6560000000000001</c:v>
                </c:pt>
                <c:pt idx="4">
                  <c:v>1.4490000000000001</c:v>
                </c:pt>
                <c:pt idx="5">
                  <c:v>0.60399999999999998</c:v>
                </c:pt>
                <c:pt idx="6">
                  <c:v>0</c:v>
                </c:pt>
              </c:numCache>
            </c:numRef>
          </c:yVal>
          <c:bubbleSize>
            <c:numRef>
              <c:f>Sheet1!$C$2:$C$8</c:f>
              <c:numCache>
                <c:formatCode>General</c:formatCode>
                <c:ptCount val="7"/>
                <c:pt idx="0">
                  <c:v>1756992</c:v>
                </c:pt>
                <c:pt idx="1">
                  <c:v>560980</c:v>
                </c:pt>
                <c:pt idx="2">
                  <c:v>273544</c:v>
                </c:pt>
                <c:pt idx="3">
                  <c:v>200356</c:v>
                </c:pt>
                <c:pt idx="4">
                  <c:v>172051</c:v>
                </c:pt>
                <c:pt idx="5">
                  <c:v>104729</c:v>
                </c:pt>
                <c:pt idx="6">
                  <c:v>6760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Photoderm</c:v>
                  </c:pt>
                  <c:pt idx="5">
                    <c:v>Banana Boat</c:v>
                  </c:pt>
                  <c:pt idx="6">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1"/>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30CD6E-362B-4143-AAF3-D888BAC61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018056-91DA-4BE1-8FAF-538987AB1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234021-DF04-45C8-84F8-3FA2BC20E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1AC05D2-92F6-4568-8068-3F59CED16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2E972A-AC4E-4A0B-B7FD-4E1B3A0C3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EAAC7E-D53D-49B6-8375-B30684465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CB18194-6959-4978-AE84-34699D24F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4A542A3-A82B-4F5E-81C4-7844F484D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84.52749999999997</c:v>
                </c:pt>
                <c:pt idx="1">
                  <c:v>263.97770000000003</c:v>
                </c:pt>
                <c:pt idx="2">
                  <c:v>257.27370000000002</c:v>
                </c:pt>
              </c:numCache>
            </c:numRef>
          </c:xVal>
          <c:yVal>
            <c:numRef>
              <c:f>Sheet1!$B$2:$B$4</c:f>
              <c:numCache>
                <c:formatCode>General</c:formatCode>
                <c:ptCount val="3"/>
                <c:pt idx="0">
                  <c:v>1.044</c:v>
                </c:pt>
                <c:pt idx="1">
                  <c:v>1.002</c:v>
                </c:pt>
                <c:pt idx="2">
                  <c:v>0.91800000000000004</c:v>
                </c:pt>
              </c:numCache>
            </c:numRef>
          </c:yVal>
          <c:bubbleSize>
            <c:numRef>
              <c:f>Sheet1!$C$2:$C$4</c:f>
              <c:numCache>
                <c:formatCode>General</c:formatCode>
                <c:ptCount val="3"/>
                <c:pt idx="0">
                  <c:v>12646396</c:v>
                </c:pt>
                <c:pt idx="1">
                  <c:v>9949583</c:v>
                </c:pt>
                <c:pt idx="2">
                  <c:v>785688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1"/>
          <c:min val="2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FD43BAB-BC4A-4F07-BB33-744C0E7EE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EC28653-8847-4BF1-896F-A92FC3BCD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BD09990-ED18-4AFF-981A-0F436C2C3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517D3C6-48C6-4684-A705-A7CF6EA80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6E9DA93-62CE-48DB-8953-EF16046BF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44F537EA-F91A-48D5-A215-8AC4F4409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91A21D92-6EF9-4FD4-A02A-E629B159C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6B9AA1DB-73E1-4695-BA51-5D527B217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5.5805</c:v>
                </c:pt>
                <c:pt idx="1">
                  <c:v>634.89549999999997</c:v>
                </c:pt>
                <c:pt idx="2">
                  <c:v>638.57579999999996</c:v>
                </c:pt>
                <c:pt idx="3">
                  <c:v>39.879300000000001</c:v>
                </c:pt>
                <c:pt idx="4">
                  <c:v>585</c:v>
                </c:pt>
              </c:numCache>
            </c:numRef>
          </c:xVal>
          <c:yVal>
            <c:numRef>
              <c:f>Sheet1!$B$2:$B$6</c:f>
              <c:numCache>
                <c:formatCode>General</c:formatCode>
                <c:ptCount val="5"/>
                <c:pt idx="0">
                  <c:v>3.4609999999999999</c:v>
                </c:pt>
                <c:pt idx="1">
                  <c:v>3.8809999999999998</c:v>
                </c:pt>
                <c:pt idx="2">
                  <c:v>0</c:v>
                </c:pt>
                <c:pt idx="3">
                  <c:v>0.123</c:v>
                </c:pt>
                <c:pt idx="4">
                  <c:v>0</c:v>
                </c:pt>
              </c:numCache>
            </c:numRef>
          </c:yVal>
          <c:bubbleSize>
            <c:numRef>
              <c:f>Sheet1!$C$2:$C$6</c:f>
              <c:numCache>
                <c:formatCode>General</c:formatCode>
                <c:ptCount val="5"/>
                <c:pt idx="0">
                  <c:v>97549</c:v>
                </c:pt>
                <c:pt idx="1">
                  <c:v>85076</c:v>
                </c:pt>
                <c:pt idx="2">
                  <c:v>21073</c:v>
                </c:pt>
                <c:pt idx="3">
                  <c:v>11565</c:v>
                </c:pt>
                <c:pt idx="4">
                  <c:v>7020</c:v>
                </c:pt>
              </c:numCache>
            </c:numRef>
          </c:bubbleSize>
          <c:bubble3D val="0"/>
          <c:extLst>
            <c:ext xmlns:c15="http://schemas.microsoft.com/office/drawing/2012/chart" uri="{02D57815-91ED-43cb-92C2-25804820EDAC}">
              <c15:datalabelsRange>
                <c15:f>Sheet1!$E$2:$E$10</c15:f>
                <c15:dlblRangeCache>
                  <c:ptCount val="9"/>
                  <c:pt idx="0">
                    <c:v>Neutrogena</c:v>
                  </c:pt>
                  <c:pt idx="1">
                    <c:v>Eclipsol</c:v>
                  </c:pt>
                  <c:pt idx="2">
                    <c:v>Eucerin</c:v>
                  </c:pt>
                  <c:pt idx="3">
                    <c:v>Caribbean Beach</c:v>
                  </c:pt>
                  <c:pt idx="4">
                    <c:v>Vich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6"/>
          <c:min val="3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AD11E3-5051-4BDB-8D5A-995E69F77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88215D-86F8-408D-A99A-73892085C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1DBFE9-9464-4AB5-AEAB-0E15A6566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2FA710-BD4A-470C-A990-BABF77724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54DE98-185D-476B-BD3C-93C2BB69F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F62187-A851-4FB6-B81E-450C6042F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7743DB-8028-4BAA-A80B-519B8249D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AF65A6-E333-4B72-A8FC-71C1C8952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44589999999999</c:v>
                </c:pt>
                <c:pt idx="1">
                  <c:v>289.0043</c:v>
                </c:pt>
                <c:pt idx="2">
                  <c:v>234.1463</c:v>
                </c:pt>
                <c:pt idx="3">
                  <c:v>84.979500000000002</c:v>
                </c:pt>
                <c:pt idx="4">
                  <c:v>240.13929999999999</c:v>
                </c:pt>
                <c:pt idx="5">
                  <c:v>601.13319999999999</c:v>
                </c:pt>
                <c:pt idx="6">
                  <c:v>74.441800000000001</c:v>
                </c:pt>
                <c:pt idx="7">
                  <c:v>628.87369999999999</c:v>
                </c:pt>
              </c:numCache>
            </c:numRef>
          </c:xVal>
          <c:yVal>
            <c:numRef>
              <c:f>Sheet1!$B$2:$B$9</c:f>
              <c:numCache>
                <c:formatCode>General</c:formatCode>
                <c:ptCount val="8"/>
                <c:pt idx="0">
                  <c:v>1.405</c:v>
                </c:pt>
                <c:pt idx="1">
                  <c:v>2.0350000000000001</c:v>
                </c:pt>
                <c:pt idx="2">
                  <c:v>0.749</c:v>
                </c:pt>
                <c:pt idx="3">
                  <c:v>0.45200000000000001</c:v>
                </c:pt>
                <c:pt idx="4">
                  <c:v>0.69</c:v>
                </c:pt>
                <c:pt idx="5">
                  <c:v>8.5909999999999993</c:v>
                </c:pt>
                <c:pt idx="6">
                  <c:v>0.40500000000000003</c:v>
                </c:pt>
                <c:pt idx="7">
                  <c:v>5.0339999999999998</c:v>
                </c:pt>
              </c:numCache>
            </c:numRef>
          </c:yVal>
          <c:bubbleSize>
            <c:numRef>
              <c:f>Sheet1!$C$2:$C$9</c:f>
              <c:numCache>
                <c:formatCode>General</c:formatCode>
                <c:ptCount val="8"/>
                <c:pt idx="0">
                  <c:v>36316877</c:v>
                </c:pt>
                <c:pt idx="1">
                  <c:v>15832523</c:v>
                </c:pt>
                <c:pt idx="2">
                  <c:v>13015722</c:v>
                </c:pt>
                <c:pt idx="3">
                  <c:v>12461813</c:v>
                </c:pt>
                <c:pt idx="4">
                  <c:v>11205618</c:v>
                </c:pt>
                <c:pt idx="5">
                  <c:v>7913318</c:v>
                </c:pt>
                <c:pt idx="6">
                  <c:v>4963182</c:v>
                </c:pt>
                <c:pt idx="7">
                  <c:v>3031800</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Caribbean Beach</c:v>
                  </c:pt>
                  <c:pt idx="4">
                    <c:v>Banana Boat</c:v>
                  </c:pt>
                  <c:pt idx="5">
                    <c:v>Isdin</c:v>
                  </c:pt>
                  <c:pt idx="6">
                    <c:v>Nuvel</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E60A8E-9474-4012-9D77-A1E1420A8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83693A-9104-4E86-A0D9-B9E718A87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CF08ED-2373-4694-91DF-764A7CB4E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52C08D-684E-451C-8531-F00ED40E1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8784BB-DCB2-43FC-A9A1-45C9F3F92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A83B307-554D-444B-9433-09C3F269A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D6E1D4-87C1-40AA-97B9-832AF988D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9EAD27-D11E-4DDC-AE3A-D8CD3745A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5.68950000000001</c:v>
                </c:pt>
                <c:pt idx="1">
                  <c:v>191.90969999999999</c:v>
                </c:pt>
                <c:pt idx="2">
                  <c:v>162.45240000000001</c:v>
                </c:pt>
                <c:pt idx="3">
                  <c:v>214.86019999999999</c:v>
                </c:pt>
              </c:numCache>
            </c:numRef>
          </c:xVal>
          <c:yVal>
            <c:numRef>
              <c:f>Sheet1!$B$2:$B$5</c:f>
              <c:numCache>
                <c:formatCode>General</c:formatCode>
                <c:ptCount val="4"/>
                <c:pt idx="0">
                  <c:v>0.97499999999999998</c:v>
                </c:pt>
                <c:pt idx="1">
                  <c:v>0.875</c:v>
                </c:pt>
                <c:pt idx="2">
                  <c:v>0.80700000000000005</c:v>
                </c:pt>
                <c:pt idx="3">
                  <c:v>3.12</c:v>
                </c:pt>
              </c:numCache>
            </c:numRef>
          </c:yVal>
          <c:bubbleSize>
            <c:numRef>
              <c:f>Sheet1!$C$2:$C$5</c:f>
              <c:numCache>
                <c:formatCode>General</c:formatCode>
                <c:ptCount val="4"/>
                <c:pt idx="0">
                  <c:v>28072614</c:v>
                </c:pt>
                <c:pt idx="1">
                  <c:v>21682914</c:v>
                </c:pt>
                <c:pt idx="2">
                  <c:v>4595292</c:v>
                </c:pt>
                <c:pt idx="3">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
          <c:min val="1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D732F9-7D59-4217-A4E1-EF252A9AE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8EC5DF-94EB-4C16-9AC1-598761929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0C0E0A-C888-44D4-9D12-3560BC186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1E1071-3D6B-4BB7-9C0F-DF1D055C9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179042-E1A5-48E1-9BBD-032551768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DADA67-8A05-4278-AD75-88E2E95ED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44A2A3A-3CE9-4650-A2D0-8A96B282D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68CCA94-8A8A-4895-BCEB-4951698D8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68689999999998</c:v>
                </c:pt>
                <c:pt idx="1">
                  <c:v>601.07420000000002</c:v>
                </c:pt>
                <c:pt idx="2">
                  <c:v>551.88130000000001</c:v>
                </c:pt>
                <c:pt idx="3">
                  <c:v>168.59960000000001</c:v>
                </c:pt>
                <c:pt idx="4">
                  <c:v>134.07570000000001</c:v>
                </c:pt>
                <c:pt idx="5">
                  <c:v>561.17010000000005</c:v>
                </c:pt>
                <c:pt idx="6">
                  <c:v>636.54790000000003</c:v>
                </c:pt>
              </c:numCache>
            </c:numRef>
          </c:xVal>
          <c:yVal>
            <c:numRef>
              <c:f>Sheet1!$B$2:$B$8</c:f>
              <c:numCache>
                <c:formatCode>General</c:formatCode>
                <c:ptCount val="7"/>
                <c:pt idx="0">
                  <c:v>0.99</c:v>
                </c:pt>
                <c:pt idx="1">
                  <c:v>1.7450000000000001</c:v>
                </c:pt>
                <c:pt idx="2">
                  <c:v>8.173</c:v>
                </c:pt>
                <c:pt idx="3">
                  <c:v>0.501</c:v>
                </c:pt>
                <c:pt idx="4">
                  <c:v>0.307</c:v>
                </c:pt>
                <c:pt idx="5">
                  <c:v>8.3309999999999995</c:v>
                </c:pt>
                <c:pt idx="6">
                  <c:v>0</c:v>
                </c:pt>
              </c:numCache>
            </c:numRef>
          </c:yVal>
          <c:bubbleSize>
            <c:numRef>
              <c:f>Sheet1!$C$2:$C$8</c:f>
              <c:numCache>
                <c:formatCode>General</c:formatCode>
                <c:ptCount val="7"/>
                <c:pt idx="0">
                  <c:v>16062904</c:v>
                </c:pt>
                <c:pt idx="1">
                  <c:v>3238588</c:v>
                </c:pt>
                <c:pt idx="2">
                  <c:v>1854873</c:v>
                </c:pt>
                <c:pt idx="3">
                  <c:v>1242916</c:v>
                </c:pt>
                <c:pt idx="4">
                  <c:v>1106527</c:v>
                </c:pt>
                <c:pt idx="5">
                  <c:v>798545</c:v>
                </c:pt>
                <c:pt idx="6">
                  <c:v>27880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Hawaiian Tropic</c:v>
                  </c:pt>
                  <c:pt idx="4">
                    <c:v>Banana Boat</c:v>
                  </c:pt>
                  <c:pt idx="5">
                    <c:v>La Roche-Posay</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4"/>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683CF2-9D33-45DA-822E-BDA67ECFA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F57CE2-C548-461E-8F50-D15E9768C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457643-4A9E-498A-9C6F-381381586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87E55C-4FCB-4109-8BA9-524D54334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241B54-1D1A-444F-9C45-F6C044CD8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67DFEB-B767-49F6-B40B-6462FA08E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041BB6-A49D-4E98-BBEF-A04D6DA2C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705151F-D9FE-49FB-AB96-D9E589AE2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71.56500000000005</c:v>
                </c:pt>
                <c:pt idx="1">
                  <c:v>596.10739999999998</c:v>
                </c:pt>
                <c:pt idx="2">
                  <c:v>245.0052</c:v>
                </c:pt>
                <c:pt idx="3">
                  <c:v>538.80119999999999</c:v>
                </c:pt>
                <c:pt idx="4">
                  <c:v>535.92679999999996</c:v>
                </c:pt>
                <c:pt idx="5">
                  <c:v>453.06009999999998</c:v>
                </c:pt>
                <c:pt idx="6">
                  <c:v>273.37549999999999</c:v>
                </c:pt>
              </c:numCache>
            </c:numRef>
          </c:xVal>
          <c:yVal>
            <c:numRef>
              <c:f>Sheet1!$B$2:$B$8</c:f>
              <c:numCache>
                <c:formatCode>General</c:formatCode>
                <c:ptCount val="7"/>
                <c:pt idx="0">
                  <c:v>1.087</c:v>
                </c:pt>
                <c:pt idx="1">
                  <c:v>1.258</c:v>
                </c:pt>
                <c:pt idx="2">
                  <c:v>0.54</c:v>
                </c:pt>
                <c:pt idx="3">
                  <c:v>0.95599999999999996</c:v>
                </c:pt>
                <c:pt idx="4">
                  <c:v>11.086</c:v>
                </c:pt>
                <c:pt idx="5">
                  <c:v>2.2709999999999999</c:v>
                </c:pt>
                <c:pt idx="6">
                  <c:v>0.433</c:v>
                </c:pt>
              </c:numCache>
            </c:numRef>
          </c:yVal>
          <c:bubbleSize>
            <c:numRef>
              <c:f>Sheet1!$C$2:$C$8</c:f>
              <c:numCache>
                <c:formatCode>General</c:formatCode>
                <c:ptCount val="7"/>
                <c:pt idx="0">
                  <c:v>2593762</c:v>
                </c:pt>
                <c:pt idx="1">
                  <c:v>2529880</c:v>
                </c:pt>
                <c:pt idx="2">
                  <c:v>1803483</c:v>
                </c:pt>
                <c:pt idx="3">
                  <c:v>842685</c:v>
                </c:pt>
                <c:pt idx="4">
                  <c:v>651687</c:v>
                </c:pt>
                <c:pt idx="5">
                  <c:v>347044</c:v>
                </c:pt>
                <c:pt idx="6">
                  <c:v>71351</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Eucerin</c:v>
                  </c:pt>
                  <c:pt idx="4">
                    <c:v>Avene</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5"/>
          <c:min val="1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3AB073-0F9E-4AA0-B658-42133817A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689FAD-0D94-413A-B11B-3AC9BEAA5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18043E-6D7C-40D2-838D-B3538F9B4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76AAE8-40BA-41A5-AB16-489E0F4D7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9839C5-73CB-4D8D-9A70-5D9EFDB05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4BB6EF8-3E4A-4AAB-BBA6-3B9FF659A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2CB1F46-F59E-4330-B59A-E0B4D7F19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FDE269-3FE3-4C3F-8F1F-4CE9EB722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30700000000002</c:v>
                </c:pt>
                <c:pt idx="1">
                  <c:v>265.50569999999999</c:v>
                </c:pt>
                <c:pt idx="2">
                  <c:v>267.69959999999998</c:v>
                </c:pt>
                <c:pt idx="3">
                  <c:v>577.60799999999995</c:v>
                </c:pt>
                <c:pt idx="4">
                  <c:v>718.45920000000001</c:v>
                </c:pt>
              </c:numCache>
            </c:numRef>
          </c:xVal>
          <c:yVal>
            <c:numRef>
              <c:f>Sheet1!$B$2:$B$6</c:f>
              <c:numCache>
                <c:formatCode>General</c:formatCode>
                <c:ptCount val="5"/>
                <c:pt idx="0">
                  <c:v>1.002</c:v>
                </c:pt>
                <c:pt idx="1">
                  <c:v>1.012</c:v>
                </c:pt>
                <c:pt idx="2">
                  <c:v>0.85499999999999998</c:v>
                </c:pt>
                <c:pt idx="3">
                  <c:v>4.3680000000000003</c:v>
                </c:pt>
                <c:pt idx="4">
                  <c:v>2.7850000000000001</c:v>
                </c:pt>
              </c:numCache>
            </c:numRef>
          </c:yVal>
          <c:bubbleSize>
            <c:numRef>
              <c:f>Sheet1!$C$2:$C$6</c:f>
              <c:numCache>
                <c:formatCode>General</c:formatCode>
                <c:ptCount val="5"/>
                <c:pt idx="0">
                  <c:v>6722997</c:v>
                </c:pt>
                <c:pt idx="1">
                  <c:v>4464213</c:v>
                </c:pt>
                <c:pt idx="2">
                  <c:v>4400179</c:v>
                </c:pt>
                <c:pt idx="3">
                  <c:v>620351</c:v>
                </c:pt>
                <c:pt idx="4">
                  <c:v>21122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2"/>
          <c:min val="2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51324F-CF20-424C-9349-7D2E9F7C5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2ACC80-2361-432B-B5E6-A7B376E01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FA76B0-2E49-4977-815D-E78A81C24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F45528-B7CE-4015-91C6-09289BB74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4A142D-3407-4C75-913A-1890B157F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B754C06-BAB4-42B7-8C4B-ECC338566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F92740-43C7-41DD-8323-395A70148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5AAB5A-CED7-44E3-81BF-34391C2B9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1884</c:v>
                </c:pt>
                <c:pt idx="1">
                  <c:v>296.70359999999999</c:v>
                </c:pt>
                <c:pt idx="2">
                  <c:v>243.22069999999999</c:v>
                </c:pt>
                <c:pt idx="3">
                  <c:v>246.98949999999999</c:v>
                </c:pt>
                <c:pt idx="4">
                  <c:v>85.877600000000001</c:v>
                </c:pt>
                <c:pt idx="5">
                  <c:v>592.28729999999996</c:v>
                </c:pt>
                <c:pt idx="6">
                  <c:v>74.820400000000006</c:v>
                </c:pt>
                <c:pt idx="7">
                  <c:v>522.14819999999997</c:v>
                </c:pt>
              </c:numCache>
            </c:numRef>
          </c:xVal>
          <c:yVal>
            <c:numRef>
              <c:f>Sheet1!$B$2:$B$9</c:f>
              <c:numCache>
                <c:formatCode>General</c:formatCode>
                <c:ptCount val="8"/>
                <c:pt idx="0">
                  <c:v>1.42</c:v>
                </c:pt>
                <c:pt idx="1">
                  <c:v>2.2170000000000001</c:v>
                </c:pt>
                <c:pt idx="2">
                  <c:v>0.76900000000000002</c:v>
                </c:pt>
                <c:pt idx="3">
                  <c:v>0.70499999999999996</c:v>
                </c:pt>
                <c:pt idx="4">
                  <c:v>0.42799999999999999</c:v>
                </c:pt>
                <c:pt idx="5">
                  <c:v>8.6219999999999999</c:v>
                </c:pt>
                <c:pt idx="6">
                  <c:v>0.40699999999999997</c:v>
                </c:pt>
                <c:pt idx="7">
                  <c:v>5.4180000000000001</c:v>
                </c:pt>
              </c:numCache>
            </c:numRef>
          </c:yVal>
          <c:bubbleSize>
            <c:numRef>
              <c:f>Sheet1!$C$2:$C$9</c:f>
              <c:numCache>
                <c:formatCode>General</c:formatCode>
                <c:ptCount val="8"/>
                <c:pt idx="0">
                  <c:v>29673359</c:v>
                </c:pt>
                <c:pt idx="1">
                  <c:v>15085897</c:v>
                </c:pt>
                <c:pt idx="2">
                  <c:v>13521853</c:v>
                </c:pt>
                <c:pt idx="3">
                  <c:v>13036602</c:v>
                </c:pt>
                <c:pt idx="4">
                  <c:v>11365128</c:v>
                </c:pt>
                <c:pt idx="5">
                  <c:v>7846030</c:v>
                </c:pt>
                <c:pt idx="6">
                  <c:v>4294539</c:v>
                </c:pt>
                <c:pt idx="7">
                  <c:v>2328259</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Caribbean Beach</c:v>
                  </c:pt>
                  <c:pt idx="5">
                    <c:v>Isdin</c:v>
                  </c:pt>
                  <c:pt idx="6">
                    <c:v>Nuvel</c:v>
                  </c:pt>
                  <c:pt idx="7">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4C1D73-69D0-4FCF-AFDF-4F60A80F5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10BFED-8A58-48DC-817B-9DF61D74E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3292CD-3E4D-43F7-B48A-651803730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FC5FB7-6F35-46C7-BF5C-B210F1842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E8C0F5-09C3-4B8A-8655-1A93D8E79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A6A248-466D-4583-94EE-B0B034B49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17E05D2-4C2E-4572-907B-F2CF920CF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D9C37D2-FEC0-40F1-86C5-E70DBB19C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9.3015</c:v>
                </c:pt>
                <c:pt idx="1">
                  <c:v>228.2414</c:v>
                </c:pt>
                <c:pt idx="2">
                  <c:v>164.3133</c:v>
                </c:pt>
                <c:pt idx="3">
                  <c:v>221.1781</c:v>
                </c:pt>
              </c:numCache>
            </c:numRef>
          </c:xVal>
          <c:yVal>
            <c:numRef>
              <c:f>Sheet1!$B$2:$B$5</c:f>
              <c:numCache>
                <c:formatCode>General</c:formatCode>
                <c:ptCount val="4"/>
                <c:pt idx="0">
                  <c:v>0.88700000000000001</c:v>
                </c:pt>
                <c:pt idx="1">
                  <c:v>0.97699999999999998</c:v>
                </c:pt>
                <c:pt idx="2">
                  <c:v>0.81200000000000006</c:v>
                </c:pt>
                <c:pt idx="3">
                  <c:v>3.1429999999999998</c:v>
                </c:pt>
              </c:numCache>
            </c:numRef>
          </c:yVal>
          <c:bubbleSize>
            <c:numRef>
              <c:f>Sheet1!$C$2:$C$5</c:f>
              <c:numCache>
                <c:formatCode>General</c:formatCode>
                <c:ptCount val="4"/>
                <c:pt idx="0">
                  <c:v>22659005</c:v>
                </c:pt>
                <c:pt idx="1">
                  <c:v>21970290</c:v>
                </c:pt>
                <c:pt idx="2">
                  <c:v>4759827</c:v>
                </c:pt>
                <c:pt idx="3">
                  <c:v>1951454</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4"/>
          <c:min val="1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80BA0E-5F2F-4056-B7EA-E53D9A067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E4CA7F-A3F0-4AC1-9E5B-5F33C204A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46ED86-8D9B-47B4-BA76-DDCB19732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010FA1-E926-424F-B35A-BF2B87410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03DD6E-3E2E-4BAE-AE98-CED0C2F94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878989-49C3-4F0E-AB9A-05B916D8C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27D54-E194-445E-9D64-CF81C7AA4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3C37A56-072F-4DA8-9E02-08529E76D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4.59230000000002</c:v>
                </c:pt>
                <c:pt idx="1">
                  <c:v>602.28390000000002</c:v>
                </c:pt>
                <c:pt idx="2">
                  <c:v>168.8724</c:v>
                </c:pt>
                <c:pt idx="3">
                  <c:v>555.81200000000001</c:v>
                </c:pt>
                <c:pt idx="4">
                  <c:v>135.2869</c:v>
                </c:pt>
                <c:pt idx="5">
                  <c:v>550.4529</c:v>
                </c:pt>
                <c:pt idx="6">
                  <c:v>610.68579999999997</c:v>
                </c:pt>
              </c:numCache>
            </c:numRef>
          </c:xVal>
          <c:yVal>
            <c:numRef>
              <c:f>Sheet1!$B$2:$B$8</c:f>
              <c:numCache>
                <c:formatCode>General</c:formatCode>
                <c:ptCount val="7"/>
                <c:pt idx="0">
                  <c:v>1.0589999999999999</c:v>
                </c:pt>
                <c:pt idx="1">
                  <c:v>1.837</c:v>
                </c:pt>
                <c:pt idx="2">
                  <c:v>0.51900000000000002</c:v>
                </c:pt>
                <c:pt idx="3">
                  <c:v>8.6120000000000001</c:v>
                </c:pt>
                <c:pt idx="4">
                  <c:v>0.33</c:v>
                </c:pt>
                <c:pt idx="5">
                  <c:v>7.9</c:v>
                </c:pt>
                <c:pt idx="6">
                  <c:v>121.45</c:v>
                </c:pt>
              </c:numCache>
            </c:numRef>
          </c:yVal>
          <c:bubbleSize>
            <c:numRef>
              <c:f>Sheet1!$C$2:$C$8</c:f>
              <c:numCache>
                <c:formatCode>General</c:formatCode>
                <c:ptCount val="7"/>
                <c:pt idx="0">
                  <c:v>11510823</c:v>
                </c:pt>
                <c:pt idx="1">
                  <c:v>3118024</c:v>
                </c:pt>
                <c:pt idx="2">
                  <c:v>1565109</c:v>
                </c:pt>
                <c:pt idx="3">
                  <c:v>1546269</c:v>
                </c:pt>
                <c:pt idx="4">
                  <c:v>1453252</c:v>
                </c:pt>
                <c:pt idx="5">
                  <c:v>805863</c:v>
                </c:pt>
                <c:pt idx="6">
                  <c:v>330381</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Eucerin</c:v>
                  </c:pt>
                  <c:pt idx="4">
                    <c:v>Banana Boat</c:v>
                  </c:pt>
                  <c:pt idx="5">
                    <c:v>La Roche-Posay</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
          <c:min val="10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8C2FDC-63F5-4195-994B-E1E5BBCE6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E9FB3C-E7C4-4CC9-B536-348F58C49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15BF81-8CCF-4A1A-8429-2F6DEB387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89CB09-D4FD-4750-A8B2-8030C2DC5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3A943B-8FAD-4DD3-A699-6FFD84E8C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BB05AF-3135-4301-A159-0E1EDA2C2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608DBD7-AEFC-4B11-8D1C-AE4968E8F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4CBDBF-ED07-40E8-BEE5-3BFF5C566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64.37270000000001</c:v>
                </c:pt>
                <c:pt idx="1">
                  <c:v>591.35900000000004</c:v>
                </c:pt>
                <c:pt idx="2">
                  <c:v>243.0667</c:v>
                </c:pt>
                <c:pt idx="3">
                  <c:v>539.03449999999998</c:v>
                </c:pt>
                <c:pt idx="4">
                  <c:v>524.27250000000004</c:v>
                </c:pt>
                <c:pt idx="5">
                  <c:v>376.23899999999998</c:v>
                </c:pt>
                <c:pt idx="6">
                  <c:v>276.94459999999998</c:v>
                </c:pt>
              </c:numCache>
            </c:numRef>
          </c:xVal>
          <c:yVal>
            <c:numRef>
              <c:f>Sheet1!$B$2:$B$8</c:f>
              <c:numCache>
                <c:formatCode>General</c:formatCode>
                <c:ptCount val="7"/>
                <c:pt idx="0">
                  <c:v>1.0669999999999999</c:v>
                </c:pt>
                <c:pt idx="1">
                  <c:v>1.3049999999999999</c:v>
                </c:pt>
                <c:pt idx="2">
                  <c:v>0.52600000000000002</c:v>
                </c:pt>
                <c:pt idx="3">
                  <c:v>5.0369999999999999</c:v>
                </c:pt>
                <c:pt idx="4">
                  <c:v>0.88600000000000001</c:v>
                </c:pt>
                <c:pt idx="5">
                  <c:v>1.4079999999999999</c:v>
                </c:pt>
                <c:pt idx="6">
                  <c:v>0.54100000000000004</c:v>
                </c:pt>
              </c:numCache>
            </c:numRef>
          </c:yVal>
          <c:bubbleSize>
            <c:numRef>
              <c:f>Sheet1!$C$2:$C$8</c:f>
              <c:numCache>
                <c:formatCode>General</c:formatCode>
                <c:ptCount val="7"/>
                <c:pt idx="0">
                  <c:v>2382217</c:v>
                </c:pt>
                <c:pt idx="1">
                  <c:v>2325815</c:v>
                </c:pt>
                <c:pt idx="2">
                  <c:v>1511389</c:v>
                </c:pt>
                <c:pt idx="3">
                  <c:v>717994</c:v>
                </c:pt>
                <c:pt idx="4">
                  <c:v>694661</c:v>
                </c:pt>
                <c:pt idx="5">
                  <c:v>401447</c:v>
                </c:pt>
                <c:pt idx="6">
                  <c:v>90007</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Avene</c:v>
                  </c:pt>
                  <c:pt idx="4">
                    <c:v>Eucerin</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
          <c:min val="19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053D2A-CAB0-433A-AC20-C3B42A470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77917E-4E92-4463-AEDC-39E4723BB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2F9065-8D50-44AF-903D-A81F2AA6D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48E7C3-5DEF-471B-BAEB-89E1B0F11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C25A9E-92BF-4D9B-B3ED-A4C3BA4D0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288B16C-6540-40B7-8031-463EE0954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13DD43-8A99-4297-8A80-3901ED452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CABDD9C-487B-4378-BB4A-BB497436E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84.36989999999997</c:v>
                </c:pt>
                <c:pt idx="1">
                  <c:v>280.70580000000001</c:v>
                </c:pt>
                <c:pt idx="2">
                  <c:v>286.34730000000002</c:v>
                </c:pt>
                <c:pt idx="3">
                  <c:v>581.43769999999995</c:v>
                </c:pt>
                <c:pt idx="4">
                  <c:v>712.24929999999995</c:v>
                </c:pt>
              </c:numCache>
            </c:numRef>
          </c:xVal>
          <c:yVal>
            <c:numRef>
              <c:f>Sheet1!$B$2:$B$6</c:f>
              <c:numCache>
                <c:formatCode>General</c:formatCode>
                <c:ptCount val="5"/>
                <c:pt idx="0">
                  <c:v>1.01</c:v>
                </c:pt>
                <c:pt idx="1">
                  <c:v>0.95599999999999996</c:v>
                </c:pt>
                <c:pt idx="2">
                  <c:v>0.98399999999999999</c:v>
                </c:pt>
                <c:pt idx="3">
                  <c:v>4.0250000000000004</c:v>
                </c:pt>
                <c:pt idx="4">
                  <c:v>2.6709999999999998</c:v>
                </c:pt>
              </c:numCache>
            </c:numRef>
          </c:yVal>
          <c:bubbleSize>
            <c:numRef>
              <c:f>Sheet1!$C$2:$C$6</c:f>
              <c:numCache>
                <c:formatCode>General</c:formatCode>
                <c:ptCount val="5"/>
                <c:pt idx="0">
                  <c:v>7929085</c:v>
                </c:pt>
                <c:pt idx="1">
                  <c:v>7598986</c:v>
                </c:pt>
                <c:pt idx="2">
                  <c:v>7242010</c:v>
                </c:pt>
                <c:pt idx="3">
                  <c:v>429101</c:v>
                </c:pt>
                <c:pt idx="4">
                  <c:v>245726</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Isdin</c:v>
                  </c:pt>
                  <c:pt idx="4">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5"/>
          <c:min val="2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C8D06FD-2FDC-431F-9FE7-C097E793B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EFA6605-49D9-4FFE-BC46-62AD28678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7C021F8-6F7B-4E15-9251-15AABAB64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38D23E0-9449-4BE5-A545-A98B222B3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30AD402-DEA6-4DFF-A028-E27C78724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241460A-1152-4D2E-A4A3-B619AF880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3091AE0-C1B2-4540-9957-157976647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F4A45B6-B033-4F04-8C45-D7B0C94C5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0.00049999999999</c:v>
                </c:pt>
                <c:pt idx="1">
                  <c:v>242.67789999999999</c:v>
                </c:pt>
                <c:pt idx="2">
                  <c:v>243.4812</c:v>
                </c:pt>
                <c:pt idx="3">
                  <c:v>230.47839999999999</c:v>
                </c:pt>
              </c:numCache>
            </c:numRef>
          </c:xVal>
          <c:yVal>
            <c:numRef>
              <c:f>Sheet1!$B$2:$B$5</c:f>
              <c:numCache>
                <c:formatCode>General</c:formatCode>
                <c:ptCount val="4"/>
                <c:pt idx="0">
                  <c:v>0.96599999999999997</c:v>
                </c:pt>
                <c:pt idx="1">
                  <c:v>1.034</c:v>
                </c:pt>
                <c:pt idx="2">
                  <c:v>0.97899999999999998</c:v>
                </c:pt>
                <c:pt idx="3">
                  <c:v>0.82899999999999996</c:v>
                </c:pt>
              </c:numCache>
            </c:numRef>
          </c:yVal>
          <c:bubbleSize>
            <c:numRef>
              <c:f>Sheet1!$C$2:$C$5</c:f>
              <c:numCache>
                <c:formatCode>General</c:formatCode>
                <c:ptCount val="4"/>
                <c:pt idx="0">
                  <c:v>3012936</c:v>
                </c:pt>
                <c:pt idx="1">
                  <c:v>2876219</c:v>
                </c:pt>
                <c:pt idx="2">
                  <c:v>953229</c:v>
                </c:pt>
                <c:pt idx="3">
                  <c:v>293399</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Australian Gold</c:v>
                  </c:pt>
                  <c:pt idx="3">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18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3147CE-DA75-416A-AF20-865AA39B0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045F60-25C2-4975-A332-736A89EA8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3DEC76-1DA8-47F0-B678-3E418B277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13D2F9-1A73-47F5-ACFE-C1C171CD5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03950B-DD8E-466D-8103-CDBBE2587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D0E774-4670-4FF6-955E-A680F2F86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919E72-3FAB-4E24-90C9-A3312C047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F8C3CF-15F0-491A-B5C8-D543EA9BD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43049999999999</c:v>
                </c:pt>
                <c:pt idx="1">
                  <c:v>245.56880000000001</c:v>
                </c:pt>
                <c:pt idx="2">
                  <c:v>294.39339999999999</c:v>
                </c:pt>
                <c:pt idx="3">
                  <c:v>241.8605</c:v>
                </c:pt>
                <c:pt idx="4">
                  <c:v>80.912599999999998</c:v>
                </c:pt>
                <c:pt idx="5">
                  <c:v>614.81870000000004</c:v>
                </c:pt>
                <c:pt idx="6">
                  <c:v>73.085599999999999</c:v>
                </c:pt>
                <c:pt idx="7">
                  <c:v>635.64369999999997</c:v>
                </c:pt>
              </c:numCache>
            </c:numRef>
          </c:xVal>
          <c:yVal>
            <c:numRef>
              <c:f>Sheet1!$B$2:$B$9</c:f>
              <c:numCache>
                <c:formatCode>General</c:formatCode>
                <c:ptCount val="8"/>
                <c:pt idx="0">
                  <c:v>1.506</c:v>
                </c:pt>
                <c:pt idx="1">
                  <c:v>0.745</c:v>
                </c:pt>
                <c:pt idx="2">
                  <c:v>2.109</c:v>
                </c:pt>
                <c:pt idx="3">
                  <c:v>0.69399999999999995</c:v>
                </c:pt>
                <c:pt idx="4">
                  <c:v>0.42399999999999999</c:v>
                </c:pt>
                <c:pt idx="5">
                  <c:v>11.061</c:v>
                </c:pt>
                <c:pt idx="6">
                  <c:v>0.39200000000000002</c:v>
                </c:pt>
                <c:pt idx="7">
                  <c:v>6.0039999999999996</c:v>
                </c:pt>
              </c:numCache>
            </c:numRef>
          </c:yVal>
          <c:bubbleSize>
            <c:numRef>
              <c:f>Sheet1!$C$2:$C$9</c:f>
              <c:numCache>
                <c:formatCode>General</c:formatCode>
                <c:ptCount val="8"/>
                <c:pt idx="0">
                  <c:v>27695220</c:v>
                </c:pt>
                <c:pt idx="1">
                  <c:v>9764061</c:v>
                </c:pt>
                <c:pt idx="2">
                  <c:v>9055836</c:v>
                </c:pt>
                <c:pt idx="3">
                  <c:v>7898680</c:v>
                </c:pt>
                <c:pt idx="4">
                  <c:v>5504728</c:v>
                </c:pt>
                <c:pt idx="5">
                  <c:v>2370126</c:v>
                </c:pt>
                <c:pt idx="6">
                  <c:v>1528440</c:v>
                </c:pt>
                <c:pt idx="7">
                  <c:v>10329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Neutrogena</c:v>
                  </c:pt>
                  <c:pt idx="3">
                    <c:v>Banana Boat</c:v>
                  </c:pt>
                  <c:pt idx="4">
                    <c:v>Caribbean Beach</c:v>
                  </c:pt>
                  <c:pt idx="5">
                    <c:v>Isdin</c:v>
                  </c:pt>
                  <c:pt idx="6">
                    <c:v>Nuvel</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3"/>
          <c:min val="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F7D4C7-3EB6-4E3C-A608-B9CF0FDF5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F9CC89-40CE-48F4-B7A2-6ADAFEA24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EF750F-39C6-4EAF-9DB9-FD3520CC7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455FBC-7295-4321-8116-E096902FF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B523AD6-4000-4F8D-9940-3D87655BF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4A3D518-74C3-4FE6-A24B-9F6009510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BD13A4-0894-4AEB-8707-EE84C0F21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9058118-B683-45A9-A81F-63DCC0F7E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6.5162</c:v>
                </c:pt>
                <c:pt idx="1">
                  <c:v>182.10589999999999</c:v>
                </c:pt>
                <c:pt idx="2">
                  <c:v>163.6695</c:v>
                </c:pt>
                <c:pt idx="3">
                  <c:v>222.31460000000001</c:v>
                </c:pt>
              </c:numCache>
            </c:numRef>
          </c:xVal>
          <c:yVal>
            <c:numRef>
              <c:f>Sheet1!$B$2:$B$5</c:f>
              <c:numCache>
                <c:formatCode>General</c:formatCode>
                <c:ptCount val="4"/>
                <c:pt idx="0">
                  <c:v>0.96699999999999997</c:v>
                </c:pt>
                <c:pt idx="1">
                  <c:v>0.88700000000000001</c:v>
                </c:pt>
                <c:pt idx="2">
                  <c:v>0.80400000000000005</c:v>
                </c:pt>
                <c:pt idx="3">
                  <c:v>3.1339999999999999</c:v>
                </c:pt>
              </c:numCache>
            </c:numRef>
          </c:yVal>
          <c:bubbleSize>
            <c:numRef>
              <c:f>Sheet1!$C$2:$C$5</c:f>
              <c:numCache>
                <c:formatCode>General</c:formatCode>
                <c:ptCount val="4"/>
                <c:pt idx="0">
                  <c:v>22540199</c:v>
                </c:pt>
                <c:pt idx="1">
                  <c:v>14187871</c:v>
                </c:pt>
                <c:pt idx="2">
                  <c:v>3074204</c:v>
                </c:pt>
                <c:pt idx="3">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7"/>
          <c:min val="1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D64BFA-6A4D-4A62-B62C-BC9297B17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E1156B-4F7F-4C88-B4AF-260CA5EBE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33ADBA-7F6E-437C-84E3-9D53DE280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3C1CB6-BDF5-4601-BD5F-29A680961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58F7C8-11DB-4923-A43D-8CDCA1403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FB6C24-C67D-480E-8533-FABC2ADB5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13F5D39-7163-4F5B-A4C7-8C84514AE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2B5330A-628D-41B9-8E1E-7F17B2524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7.91129999999998</c:v>
                </c:pt>
                <c:pt idx="1">
                  <c:v>169.84389999999999</c:v>
                </c:pt>
                <c:pt idx="2">
                  <c:v>136.4699</c:v>
                </c:pt>
                <c:pt idx="3">
                  <c:v>603.70399999999995</c:v>
                </c:pt>
                <c:pt idx="4">
                  <c:v>555.28160000000003</c:v>
                </c:pt>
                <c:pt idx="5">
                  <c:v>513.76520000000005</c:v>
                </c:pt>
              </c:numCache>
            </c:numRef>
          </c:xVal>
          <c:yVal>
            <c:numRef>
              <c:f>Sheet1!$B$2:$B$7</c:f>
              <c:numCache>
                <c:formatCode>General</c:formatCode>
                <c:ptCount val="6"/>
                <c:pt idx="0">
                  <c:v>1.109</c:v>
                </c:pt>
                <c:pt idx="1">
                  <c:v>0.54500000000000004</c:v>
                </c:pt>
                <c:pt idx="2">
                  <c:v>0.33200000000000002</c:v>
                </c:pt>
                <c:pt idx="3">
                  <c:v>1.9319999999999999</c:v>
                </c:pt>
                <c:pt idx="4">
                  <c:v>9.2270000000000003</c:v>
                </c:pt>
                <c:pt idx="5">
                  <c:v>8.5660000000000007</c:v>
                </c:pt>
              </c:numCache>
            </c:numRef>
          </c:yVal>
          <c:bubbleSize>
            <c:numRef>
              <c:f>Sheet1!$C$2:$C$7</c:f>
              <c:numCache>
                <c:formatCode>General</c:formatCode>
                <c:ptCount val="6"/>
                <c:pt idx="0">
                  <c:v>10553829</c:v>
                </c:pt>
                <c:pt idx="1">
                  <c:v>1178207</c:v>
                </c:pt>
                <c:pt idx="2">
                  <c:v>940414</c:v>
                </c:pt>
                <c:pt idx="3">
                  <c:v>868730</c:v>
                </c:pt>
                <c:pt idx="4">
                  <c:v>865684</c:v>
                </c:pt>
                <c:pt idx="5">
                  <c:v>77013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Eucerin</c:v>
                  </c:pt>
                  <c:pt idx="5">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4"/>
          <c:min val="1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F54318-CDA6-4BBC-AEDE-5A880F1C4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3CEBB4-A4E6-4DEE-BA53-D8B436946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E9545B-5B73-4B56-8952-E8CBF56BE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00F13B-A246-41AC-BB7B-3158C79B4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EA79AE-FD7B-48B9-9B37-D5693510B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CD1704-EDF8-4E60-8CD9-663CA835E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6535D1-119D-45EB-AF3A-8CF62BA84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33C9C7-3D24-4984-B1C3-8ED432B2E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84100000000001</c:v>
                </c:pt>
                <c:pt idx="1">
                  <c:v>613.18759999999997</c:v>
                </c:pt>
                <c:pt idx="2">
                  <c:v>587.87170000000003</c:v>
                </c:pt>
                <c:pt idx="3">
                  <c:v>525.45579999999995</c:v>
                </c:pt>
                <c:pt idx="4">
                  <c:v>314.7817</c:v>
                </c:pt>
                <c:pt idx="5">
                  <c:v>605.62210000000005</c:v>
                </c:pt>
                <c:pt idx="6">
                  <c:v>268.76769999999999</c:v>
                </c:pt>
              </c:numCache>
            </c:numRef>
          </c:xVal>
          <c:yVal>
            <c:numRef>
              <c:f>Sheet1!$B$2:$B$8</c:f>
              <c:numCache>
                <c:formatCode>General</c:formatCode>
                <c:ptCount val="7"/>
                <c:pt idx="0">
                  <c:v>0.52200000000000002</c:v>
                </c:pt>
                <c:pt idx="1">
                  <c:v>2.4020000000000001</c:v>
                </c:pt>
                <c:pt idx="2">
                  <c:v>2.1539999999999999</c:v>
                </c:pt>
                <c:pt idx="3">
                  <c:v>1.159</c:v>
                </c:pt>
                <c:pt idx="4">
                  <c:v>1.03</c:v>
                </c:pt>
                <c:pt idx="5">
                  <c:v>0</c:v>
                </c:pt>
                <c:pt idx="6">
                  <c:v>0.52600000000000002</c:v>
                </c:pt>
              </c:numCache>
            </c:numRef>
          </c:yVal>
          <c:bubbleSize>
            <c:numRef>
              <c:f>Sheet1!$C$2:$C$8</c:f>
              <c:numCache>
                <c:formatCode>General</c:formatCode>
                <c:ptCount val="7"/>
                <c:pt idx="0">
                  <c:v>1312348</c:v>
                </c:pt>
                <c:pt idx="1">
                  <c:v>1019731</c:v>
                </c:pt>
                <c:pt idx="2">
                  <c:v>888862</c:v>
                </c:pt>
                <c:pt idx="3">
                  <c:v>273237</c:v>
                </c:pt>
                <c:pt idx="4">
                  <c:v>230735</c:v>
                </c:pt>
                <c:pt idx="5">
                  <c:v>104167</c:v>
                </c:pt>
                <c:pt idx="6">
                  <c:v>6826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La Roche-Posay</c:v>
                  </c:pt>
                  <c:pt idx="3">
                    <c:v>Eucerin</c:v>
                  </c:pt>
                  <c:pt idx="4">
                    <c:v>Photoderm</c:v>
                  </c:pt>
                  <c:pt idx="5">
                    <c:v>Avene</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
          <c:min val="1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6D0BC1-6227-4B57-BC99-B746C260A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7BE585-91D0-48E5-829E-53225D46E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6208A0-08DE-4349-A2D6-05B13C8BF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2A822FA-355D-4AF0-800F-448DBFFC9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4974FCC-A9F2-491E-8E24-E07B0A0DE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8993A11-AEBE-407C-A5A6-056918B72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30FC872-F1B2-4748-A3C5-F1063B194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27FACE-4724-4B4B-BDDC-48900814D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79.1474</c:v>
                </c:pt>
                <c:pt idx="1">
                  <c:v>286.00220000000002</c:v>
                </c:pt>
                <c:pt idx="2">
                  <c:v>288.7124</c:v>
                </c:pt>
              </c:numCache>
            </c:numRef>
          </c:xVal>
          <c:yVal>
            <c:numRef>
              <c:f>Sheet1!$B$2:$B$4</c:f>
              <c:numCache>
                <c:formatCode>General</c:formatCode>
                <c:ptCount val="3"/>
                <c:pt idx="0">
                  <c:v>0.95599999999999996</c:v>
                </c:pt>
                <c:pt idx="1">
                  <c:v>1.014</c:v>
                </c:pt>
                <c:pt idx="2">
                  <c:v>1.004</c:v>
                </c:pt>
              </c:numCache>
            </c:numRef>
          </c:yVal>
          <c:bubbleSize>
            <c:numRef>
              <c:f>Sheet1!$C$2:$C$4</c:f>
              <c:numCache>
                <c:formatCode>General</c:formatCode>
                <c:ptCount val="3"/>
                <c:pt idx="0">
                  <c:v>8640450</c:v>
                </c:pt>
                <c:pt idx="1">
                  <c:v>8037806</c:v>
                </c:pt>
                <c:pt idx="2">
                  <c:v>7281905</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2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27F291-15C0-43E9-97CE-4BA55C14E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407F6A-0397-453A-B2AF-2012F4A75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ED5FC6-6EDC-4328-8CE1-9FD664A2B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9D8DB5-DEB2-4477-820B-3920AAAB4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3D8D0A-840A-4AA6-A222-035884BA1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0B1932-88BB-4A75-87D1-409490896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DA56F3-BC68-4248-B72E-2BA4313BB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270E3E-2018-4AE4-A019-4386806A6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45760000000001</c:v>
                </c:pt>
                <c:pt idx="1">
                  <c:v>214.76150000000001</c:v>
                </c:pt>
                <c:pt idx="2">
                  <c:v>313.97039999999998</c:v>
                </c:pt>
                <c:pt idx="3">
                  <c:v>577.1653</c:v>
                </c:pt>
                <c:pt idx="4">
                  <c:v>289.72449999999998</c:v>
                </c:pt>
                <c:pt idx="5">
                  <c:v>84.471800000000002</c:v>
                </c:pt>
                <c:pt idx="6">
                  <c:v>76.948499999999996</c:v>
                </c:pt>
                <c:pt idx="7">
                  <c:v>524.6259</c:v>
                </c:pt>
              </c:numCache>
            </c:numRef>
          </c:xVal>
          <c:yVal>
            <c:numRef>
              <c:f>Sheet1!$B$2:$B$9</c:f>
              <c:numCache>
                <c:formatCode>General</c:formatCode>
                <c:ptCount val="8"/>
                <c:pt idx="0">
                  <c:v>1.1000000000000001</c:v>
                </c:pt>
                <c:pt idx="1">
                  <c:v>0.75</c:v>
                </c:pt>
                <c:pt idx="2">
                  <c:v>4.2450000000000001</c:v>
                </c:pt>
                <c:pt idx="3">
                  <c:v>4.18</c:v>
                </c:pt>
                <c:pt idx="4">
                  <c:v>2.0569999999999999</c:v>
                </c:pt>
                <c:pt idx="5">
                  <c:v>0.41599999999999998</c:v>
                </c:pt>
                <c:pt idx="6">
                  <c:v>0.39400000000000002</c:v>
                </c:pt>
                <c:pt idx="7">
                  <c:v>4.4249999999999998</c:v>
                </c:pt>
              </c:numCache>
            </c:numRef>
          </c:yVal>
          <c:bubbleSize>
            <c:numRef>
              <c:f>Sheet1!$C$2:$C$9</c:f>
              <c:numCache>
                <c:formatCode>General</c:formatCode>
                <c:ptCount val="8"/>
                <c:pt idx="0">
                  <c:v>577505827</c:v>
                </c:pt>
                <c:pt idx="1">
                  <c:v>497073406</c:v>
                </c:pt>
                <c:pt idx="2">
                  <c:v>114932306</c:v>
                </c:pt>
                <c:pt idx="3">
                  <c:v>108131910</c:v>
                </c:pt>
                <c:pt idx="4">
                  <c:v>102115148</c:v>
                </c:pt>
                <c:pt idx="5">
                  <c:v>62397486</c:v>
                </c:pt>
                <c:pt idx="6">
                  <c:v>32893004</c:v>
                </c:pt>
                <c:pt idx="7">
                  <c:v>28081649</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L'Oreal</c:v>
                  </c:pt>
                  <c:pt idx="3">
                    <c:v>Isdin</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DA58C0-CCAD-432C-95FE-2B6235645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4D58EB-EB96-4BD7-99A5-E973851E5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8591A6-F56F-4436-80D1-38A09620B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5C5527-0C2D-41B1-A9F9-7095646AA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E2D080-A08D-4E23-A1D4-2FB18D862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D0D627-03DB-4643-9581-726038687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A92354-0354-42D6-96AB-F52FCAA2C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5B46AF-6DF7-41FB-8F74-1B0B3A318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2.4307</c:v>
                </c:pt>
                <c:pt idx="1">
                  <c:v>205.25319999999999</c:v>
                </c:pt>
                <c:pt idx="2">
                  <c:v>289.48630000000003</c:v>
                </c:pt>
                <c:pt idx="3">
                  <c:v>591.12919999999997</c:v>
                </c:pt>
                <c:pt idx="4">
                  <c:v>275.2457</c:v>
                </c:pt>
                <c:pt idx="5">
                  <c:v>84.318399999999997</c:v>
                </c:pt>
                <c:pt idx="6">
                  <c:v>76.5351</c:v>
                </c:pt>
                <c:pt idx="7">
                  <c:v>552.42020000000002</c:v>
                </c:pt>
              </c:numCache>
            </c:numRef>
          </c:xVal>
          <c:yVal>
            <c:numRef>
              <c:f>Sheet1!$B$2:$B$9</c:f>
              <c:numCache>
                <c:formatCode>General</c:formatCode>
                <c:ptCount val="8"/>
                <c:pt idx="0">
                  <c:v>1.1040000000000001</c:v>
                </c:pt>
                <c:pt idx="1">
                  <c:v>0.73699999999999999</c:v>
                </c:pt>
                <c:pt idx="2">
                  <c:v>2.0459999999999998</c:v>
                </c:pt>
                <c:pt idx="3">
                  <c:v>4.2460000000000004</c:v>
                </c:pt>
                <c:pt idx="4">
                  <c:v>4.0049999999999999</c:v>
                </c:pt>
                <c:pt idx="5">
                  <c:v>0.40500000000000003</c:v>
                </c:pt>
                <c:pt idx="6">
                  <c:v>0.39</c:v>
                </c:pt>
                <c:pt idx="7">
                  <c:v>4.4009999999999998</c:v>
                </c:pt>
              </c:numCache>
            </c:numRef>
          </c:yVal>
          <c:bubbleSize>
            <c:numRef>
              <c:f>Sheet1!$C$2:$C$9</c:f>
              <c:numCache>
                <c:formatCode>General</c:formatCode>
                <c:ptCount val="8"/>
                <c:pt idx="0">
                  <c:v>122691412</c:v>
                </c:pt>
                <c:pt idx="1">
                  <c:v>103269264</c:v>
                </c:pt>
                <c:pt idx="2">
                  <c:v>28274994</c:v>
                </c:pt>
                <c:pt idx="3">
                  <c:v>25478849</c:v>
                </c:pt>
                <c:pt idx="4">
                  <c:v>22917510</c:v>
                </c:pt>
                <c:pt idx="5">
                  <c:v>13081245</c:v>
                </c:pt>
                <c:pt idx="6">
                  <c:v>8185349</c:v>
                </c:pt>
                <c:pt idx="7">
                  <c:v>3992341</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Isdin</c:v>
                  </c:pt>
                  <c:pt idx="4">
                    <c:v>L'Oreal</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9FC7D7-FFA5-4B40-930F-D9497C8D1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EBBE94-93FC-405A-B109-ACFF78087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F6E036-6F6E-401F-B0A3-1A3445A52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DF4911-88EE-435E-9ACF-4F184CC33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11DA96-17D0-4153-A5CF-A4C20C960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687C124-8EEB-45F0-BED9-F1197BF09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B0D4DA-DF3B-4E4A-B83D-0A5BC9087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519F43-5B98-4AAD-A7C3-BB29B388D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45830000000001</c:v>
                </c:pt>
                <c:pt idx="1">
                  <c:v>198.2029</c:v>
                </c:pt>
                <c:pt idx="2">
                  <c:v>372.62670000000003</c:v>
                </c:pt>
                <c:pt idx="3">
                  <c:v>552.87279999999998</c:v>
                </c:pt>
                <c:pt idx="4">
                  <c:v>291.7559</c:v>
                </c:pt>
                <c:pt idx="5">
                  <c:v>504.46109999999999</c:v>
                </c:pt>
                <c:pt idx="6">
                  <c:v>83.003399999999999</c:v>
                </c:pt>
                <c:pt idx="7">
                  <c:v>460.52210000000002</c:v>
                </c:pt>
              </c:numCache>
            </c:numRef>
          </c:xVal>
          <c:yVal>
            <c:numRef>
              <c:f>Sheet1!$B$2:$B$9</c:f>
              <c:numCache>
                <c:formatCode>General</c:formatCode>
                <c:ptCount val="8"/>
                <c:pt idx="0">
                  <c:v>1.0009999999999999</c:v>
                </c:pt>
                <c:pt idx="1">
                  <c:v>0.58899999999999997</c:v>
                </c:pt>
                <c:pt idx="2">
                  <c:v>3.4820000000000002</c:v>
                </c:pt>
                <c:pt idx="3">
                  <c:v>3.3940000000000001</c:v>
                </c:pt>
                <c:pt idx="4">
                  <c:v>1.6870000000000001</c:v>
                </c:pt>
                <c:pt idx="5">
                  <c:v>3.347</c:v>
                </c:pt>
                <c:pt idx="6">
                  <c:v>0.33</c:v>
                </c:pt>
                <c:pt idx="7">
                  <c:v>4.048</c:v>
                </c:pt>
              </c:numCache>
            </c:numRef>
          </c:yVal>
          <c:bubbleSize>
            <c:numRef>
              <c:f>Sheet1!$C$2:$C$9</c:f>
              <c:numCache>
                <c:formatCode>General</c:formatCode>
                <c:ptCount val="8"/>
                <c:pt idx="0">
                  <c:v>91887846</c:v>
                </c:pt>
                <c:pt idx="1">
                  <c:v>68907006</c:v>
                </c:pt>
                <c:pt idx="2">
                  <c:v>40990796</c:v>
                </c:pt>
                <c:pt idx="3">
                  <c:v>38563986</c:v>
                </c:pt>
                <c:pt idx="4">
                  <c:v>19448156</c:v>
                </c:pt>
                <c:pt idx="5">
                  <c:v>13237058</c:v>
                </c:pt>
                <c:pt idx="6">
                  <c:v>9573118</c:v>
                </c:pt>
                <c:pt idx="7">
                  <c:v>5068506</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L'Oreal</c:v>
                  </c:pt>
                  <c:pt idx="3">
                    <c:v>Isdin</c:v>
                  </c:pt>
                  <c:pt idx="4">
                    <c:v>J&amp;J</c:v>
                  </c:pt>
                  <c:pt idx="5">
                    <c:v>Pierre Fabre</c:v>
                  </c:pt>
                  <c:pt idx="6">
                    <c:v>Total Care De Mexico</c:v>
                  </c:pt>
                  <c:pt idx="7">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3"/>
          <c:min val="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708268-DEAB-42C6-9E1A-B34779253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3733F6-CFB4-438C-8A02-A987AD7A0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801922-9304-4D42-A37B-0D5708385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22F67F-9C1F-4F1B-8D98-1BF02FBE2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D093D0-010C-420D-A020-26FA79DD5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66ADE1-8128-4B9F-8051-004FBA250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DAAC72-DACD-47EC-90F1-FF2657395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EBFC92-5285-49E4-8F72-1237197BA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14590000000001</c:v>
                </c:pt>
                <c:pt idx="1">
                  <c:v>218.2491</c:v>
                </c:pt>
                <c:pt idx="2">
                  <c:v>280.37139999999999</c:v>
                </c:pt>
                <c:pt idx="3">
                  <c:v>86.568399999999997</c:v>
                </c:pt>
                <c:pt idx="4">
                  <c:v>232.18369999999999</c:v>
                </c:pt>
                <c:pt idx="5">
                  <c:v>79.212199999999996</c:v>
                </c:pt>
                <c:pt idx="6">
                  <c:v>605.09690000000001</c:v>
                </c:pt>
                <c:pt idx="7">
                  <c:v>291.0607</c:v>
                </c:pt>
              </c:numCache>
            </c:numRef>
          </c:xVal>
          <c:yVal>
            <c:numRef>
              <c:f>Sheet1!$B$2:$B$9</c:f>
              <c:numCache>
                <c:formatCode>General</c:formatCode>
                <c:ptCount val="8"/>
                <c:pt idx="0">
                  <c:v>1.165</c:v>
                </c:pt>
                <c:pt idx="1">
                  <c:v>0.86</c:v>
                </c:pt>
                <c:pt idx="2">
                  <c:v>2.1760000000000002</c:v>
                </c:pt>
                <c:pt idx="3">
                  <c:v>0.47899999999999998</c:v>
                </c:pt>
                <c:pt idx="4">
                  <c:v>4.5599999999999996</c:v>
                </c:pt>
                <c:pt idx="5">
                  <c:v>0.46600000000000003</c:v>
                </c:pt>
                <c:pt idx="6">
                  <c:v>5.1710000000000003</c:v>
                </c:pt>
                <c:pt idx="7">
                  <c:v>1.1240000000000001</c:v>
                </c:pt>
              </c:numCache>
            </c:numRef>
          </c:yVal>
          <c:bubbleSize>
            <c:numRef>
              <c:f>Sheet1!$C$2:$C$9</c:f>
              <c:numCache>
                <c:formatCode>General</c:formatCode>
                <c:ptCount val="8"/>
                <c:pt idx="0">
                  <c:v>113118687</c:v>
                </c:pt>
                <c:pt idx="1">
                  <c:v>89424716</c:v>
                </c:pt>
                <c:pt idx="2">
                  <c:v>13224280</c:v>
                </c:pt>
                <c:pt idx="3">
                  <c:v>10298174</c:v>
                </c:pt>
                <c:pt idx="4">
                  <c:v>8183548</c:v>
                </c:pt>
                <c:pt idx="5">
                  <c:v>7336634</c:v>
                </c:pt>
                <c:pt idx="6">
                  <c:v>3786091</c:v>
                </c:pt>
                <c:pt idx="7">
                  <c:v>372383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Total Care De Mexico</c:v>
                  </c:pt>
                  <c:pt idx="4">
                    <c:v>L'Oreal</c:v>
                  </c:pt>
                  <c:pt idx="5">
                    <c:v>Inds.Lavin De Mexico</c:v>
                  </c:pt>
                  <c:pt idx="6">
                    <c:v>Isdin</c:v>
                  </c:pt>
                  <c:pt idx="7">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609CCD-DC00-451D-9F14-444A410AF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EC2566-04D4-413F-A663-4BAD161FF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31AE8A-27AC-4F78-B03C-43AA225F1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DEE74D-A7EA-4E17-BBE6-88F5D94BC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BEA4D7-F342-4B02-A722-C292E1827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B03440-2E7D-4EE3-8609-235919AD7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F0C46E-7159-4AE4-A147-89F321E00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66A599-57B3-4CF3-8643-03575C9F4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60769999999999</c:v>
                </c:pt>
                <c:pt idx="1">
                  <c:v>216.7732</c:v>
                </c:pt>
                <c:pt idx="2">
                  <c:v>590.55079999999998</c:v>
                </c:pt>
                <c:pt idx="3">
                  <c:v>308.98579999999998</c:v>
                </c:pt>
                <c:pt idx="4">
                  <c:v>288.5933</c:v>
                </c:pt>
                <c:pt idx="5">
                  <c:v>84.668499999999995</c:v>
                </c:pt>
                <c:pt idx="6">
                  <c:v>77.155699999999996</c:v>
                </c:pt>
                <c:pt idx="7">
                  <c:v>541.5231</c:v>
                </c:pt>
              </c:numCache>
            </c:numRef>
          </c:xVal>
          <c:yVal>
            <c:numRef>
              <c:f>Sheet1!$B$2:$B$9</c:f>
              <c:numCache>
                <c:formatCode>General</c:formatCode>
                <c:ptCount val="8"/>
                <c:pt idx="0">
                  <c:v>1.1140000000000001</c:v>
                </c:pt>
                <c:pt idx="1">
                  <c:v>0.755</c:v>
                </c:pt>
                <c:pt idx="2">
                  <c:v>4.0620000000000003</c:v>
                </c:pt>
                <c:pt idx="3">
                  <c:v>4.3879999999999999</c:v>
                </c:pt>
                <c:pt idx="4">
                  <c:v>2.0569999999999999</c:v>
                </c:pt>
                <c:pt idx="5">
                  <c:v>0.44500000000000001</c:v>
                </c:pt>
                <c:pt idx="6">
                  <c:v>0.40200000000000002</c:v>
                </c:pt>
                <c:pt idx="7">
                  <c:v>4.827</c:v>
                </c:pt>
              </c:numCache>
            </c:numRef>
          </c:yVal>
          <c:bubbleSize>
            <c:numRef>
              <c:f>Sheet1!$C$2:$C$9</c:f>
              <c:numCache>
                <c:formatCode>General</c:formatCode>
                <c:ptCount val="8"/>
                <c:pt idx="0">
                  <c:v>97420747</c:v>
                </c:pt>
                <c:pt idx="1">
                  <c:v>76654674</c:v>
                </c:pt>
                <c:pt idx="2">
                  <c:v>17830499</c:v>
                </c:pt>
                <c:pt idx="3">
                  <c:v>17284355</c:v>
                </c:pt>
                <c:pt idx="4">
                  <c:v>16300038</c:v>
                </c:pt>
                <c:pt idx="5">
                  <c:v>12515446</c:v>
                </c:pt>
                <c:pt idx="6">
                  <c:v>6946792</c:v>
                </c:pt>
                <c:pt idx="7">
                  <c:v>4056008</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6081B5B-F7F6-4B79-8089-7112CD43C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6B19A92-7C99-4CD0-ACB1-3F912B71B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E0A45E2-4F47-46E0-B346-82B679D8F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BE6A8EEC-63C2-4CF2-9CF8-E55C97D80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93C3DBFC-358E-4EAE-B809-7F263530C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42FDDFCC-2D40-4CF7-B13B-FF4A6E6A3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9AF0CE0-C68B-4801-80A9-3A736FB02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A7EAF63B-7465-4742-A048-B818253C4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0.4076</c:v>
                </c:pt>
                <c:pt idx="1">
                  <c:v>131.8665</c:v>
                </c:pt>
                <c:pt idx="2">
                  <c:v>116.82640000000001</c:v>
                </c:pt>
                <c:pt idx="3">
                  <c:v>213.8289</c:v>
                </c:pt>
                <c:pt idx="4">
                  <c:v>53.390799999999999</c:v>
                </c:pt>
              </c:numCache>
            </c:numRef>
          </c:xVal>
          <c:yVal>
            <c:numRef>
              <c:f>Sheet1!$B$2:$B$6</c:f>
              <c:numCache>
                <c:formatCode>General</c:formatCode>
                <c:ptCount val="5"/>
                <c:pt idx="0">
                  <c:v>0.99399999999999999</c:v>
                </c:pt>
                <c:pt idx="1">
                  <c:v>0.67200000000000004</c:v>
                </c:pt>
                <c:pt idx="2">
                  <c:v>0.92800000000000005</c:v>
                </c:pt>
                <c:pt idx="3">
                  <c:v>1.472</c:v>
                </c:pt>
                <c:pt idx="4">
                  <c:v>0.35699999999999998</c:v>
                </c:pt>
              </c:numCache>
            </c:numRef>
          </c:yVal>
          <c:bubbleSize>
            <c:numRef>
              <c:f>Sheet1!$C$2:$C$6</c:f>
              <c:numCache>
                <c:formatCode>General</c:formatCode>
                <c:ptCount val="5"/>
                <c:pt idx="0">
                  <c:v>2871732</c:v>
                </c:pt>
                <c:pt idx="1">
                  <c:v>1293742</c:v>
                </c:pt>
                <c:pt idx="2">
                  <c:v>1124337</c:v>
                </c:pt>
                <c:pt idx="3">
                  <c:v>319888</c:v>
                </c:pt>
                <c:pt idx="4">
                  <c:v>131982</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pt idx="4">
                    <c:v>Caribbean Beach</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4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2C9F48-CF74-42B5-AF13-C07AFD14C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913BF9-0775-4ACE-BC42-09096D724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CC12E2-A18A-483E-95A9-FB6062AA0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E1D2ED-36A6-438B-B2D8-F3F3A2BD4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028D37-9564-48DF-A400-230EF2280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CC2C27-F9BC-49AF-9F65-5F486EE50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FFE7DA-0A73-48FA-94B3-F4BDA34B8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28D18C-27BC-404B-9F9C-9567B2E7D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5.4504</c:v>
                </c:pt>
                <c:pt idx="1">
                  <c:v>254.7749</c:v>
                </c:pt>
                <c:pt idx="2">
                  <c:v>587.34699999999998</c:v>
                </c:pt>
                <c:pt idx="3">
                  <c:v>329.60989999999998</c:v>
                </c:pt>
                <c:pt idx="4">
                  <c:v>294.1069</c:v>
                </c:pt>
                <c:pt idx="5">
                  <c:v>85.747100000000003</c:v>
                </c:pt>
                <c:pt idx="6">
                  <c:v>76.301599999999993</c:v>
                </c:pt>
                <c:pt idx="7">
                  <c:v>526.44399999999996</c:v>
                </c:pt>
              </c:numCache>
            </c:numRef>
          </c:xVal>
          <c:yVal>
            <c:numRef>
              <c:f>Sheet1!$B$2:$B$9</c:f>
              <c:numCache>
                <c:formatCode>General</c:formatCode>
                <c:ptCount val="8"/>
                <c:pt idx="0">
                  <c:v>0.78500000000000003</c:v>
                </c:pt>
                <c:pt idx="1">
                  <c:v>1.133</c:v>
                </c:pt>
                <c:pt idx="2">
                  <c:v>4.016</c:v>
                </c:pt>
                <c:pt idx="3">
                  <c:v>4.4269999999999996</c:v>
                </c:pt>
                <c:pt idx="4">
                  <c:v>2.214</c:v>
                </c:pt>
                <c:pt idx="5">
                  <c:v>0.42199999999999999</c:v>
                </c:pt>
                <c:pt idx="6">
                  <c:v>0.40300000000000002</c:v>
                </c:pt>
                <c:pt idx="7">
                  <c:v>4.806</c:v>
                </c:pt>
              </c:numCache>
            </c:numRef>
          </c:yVal>
          <c:bubbleSize>
            <c:numRef>
              <c:f>Sheet1!$C$2:$C$9</c:f>
              <c:numCache>
                <c:formatCode>General</c:formatCode>
                <c:ptCount val="8"/>
                <c:pt idx="0">
                  <c:v>91249712</c:v>
                </c:pt>
                <c:pt idx="1">
                  <c:v>78965427</c:v>
                </c:pt>
                <c:pt idx="2">
                  <c:v>16648350</c:v>
                </c:pt>
                <c:pt idx="3">
                  <c:v>16217798</c:v>
                </c:pt>
                <c:pt idx="4">
                  <c:v>15534431</c:v>
                </c:pt>
                <c:pt idx="5">
                  <c:v>11402824</c:v>
                </c:pt>
                <c:pt idx="6">
                  <c:v>5048116</c:v>
                </c:pt>
                <c:pt idx="7">
                  <c:v>4544791</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Isdin</c:v>
                  </c:pt>
                  <c:pt idx="3">
                    <c:v>L'Oreal</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470507-04B2-4690-A342-5D9281A89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46DC7A-49A5-49AE-9A86-9A784F1E5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144AAE-44D7-493E-BA74-A1A200EAD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87FFA4-B227-4C2C-8D96-BC36DFFDD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A9B772-2B0D-49C7-9DD0-FB0EF9D89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0A0DCA-DC94-4740-BE93-F59AB3173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167C34B-0391-478B-BC3F-B7407C56A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100207-B953-4FDE-9434-8653C04F8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5.875</c:v>
                </c:pt>
                <c:pt idx="1">
                  <c:v>228.54140000000001</c:v>
                </c:pt>
                <c:pt idx="2">
                  <c:v>288.16570000000002</c:v>
                </c:pt>
                <c:pt idx="3">
                  <c:v>294.82420000000002</c:v>
                </c:pt>
                <c:pt idx="4">
                  <c:v>600.36440000000005</c:v>
                </c:pt>
                <c:pt idx="5">
                  <c:v>80.747500000000002</c:v>
                </c:pt>
              </c:numCache>
            </c:numRef>
          </c:xVal>
          <c:yVal>
            <c:numRef>
              <c:f>Sheet1!$B$2:$B$7</c:f>
              <c:numCache>
                <c:formatCode>General</c:formatCode>
                <c:ptCount val="6"/>
                <c:pt idx="0">
                  <c:v>1.135</c:v>
                </c:pt>
                <c:pt idx="1">
                  <c:v>0.81499999999999995</c:v>
                </c:pt>
                <c:pt idx="2">
                  <c:v>4.4749999999999996</c:v>
                </c:pt>
                <c:pt idx="3">
                  <c:v>2.2069999999999999</c:v>
                </c:pt>
                <c:pt idx="4">
                  <c:v>4.5579999999999998</c:v>
                </c:pt>
                <c:pt idx="5">
                  <c:v>0.434</c:v>
                </c:pt>
              </c:numCache>
            </c:numRef>
          </c:yVal>
          <c:bubbleSize>
            <c:numRef>
              <c:f>Sheet1!$C$2:$C$7</c:f>
              <c:numCache>
                <c:formatCode>General</c:formatCode>
                <c:ptCount val="6"/>
                <c:pt idx="0">
                  <c:v>73421708</c:v>
                </c:pt>
                <c:pt idx="1">
                  <c:v>67568034</c:v>
                </c:pt>
                <c:pt idx="2">
                  <c:v>9338299</c:v>
                </c:pt>
                <c:pt idx="3">
                  <c:v>9333249</c:v>
                </c:pt>
                <c:pt idx="4">
                  <c:v>5824135</c:v>
                </c:pt>
                <c:pt idx="5">
                  <c:v>5526679</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L'Oreal</c:v>
                  </c:pt>
                  <c:pt idx="3">
                    <c:v>J&amp;J</c:v>
                  </c:pt>
                  <c:pt idx="4">
                    <c:v>Isdin</c:v>
                  </c:pt>
                  <c:pt idx="5">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3DF5A7-A945-4976-8A2A-3B78BE66A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0FFE79-A47C-42CA-A49C-DD77F9DC8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B16C55-D4D5-4C0B-849B-97B1A09CD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672AE1-BB8B-4E8B-9A9D-098C7A4EF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0C9932-065D-41DB-A90B-3D5FD07E8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6CAD398-B49D-49C3-A6A0-C1E3988B3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51A211-963E-40B2-93D4-5CDC07243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E64328-27FF-414E-8F48-749C50F61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3.52289999999999</c:v>
                </c:pt>
                <c:pt idx="1">
                  <c:v>217.06989999999999</c:v>
                </c:pt>
                <c:pt idx="2">
                  <c:v>577.1653</c:v>
                </c:pt>
                <c:pt idx="3">
                  <c:v>316.23989999999998</c:v>
                </c:pt>
                <c:pt idx="4">
                  <c:v>291.35789999999997</c:v>
                </c:pt>
                <c:pt idx="5">
                  <c:v>84.778300000000002</c:v>
                </c:pt>
                <c:pt idx="6">
                  <c:v>76.948599999999999</c:v>
                </c:pt>
                <c:pt idx="7">
                  <c:v>539.33180000000004</c:v>
                </c:pt>
              </c:numCache>
            </c:numRef>
          </c:xVal>
          <c:yVal>
            <c:numRef>
              <c:f>Sheet1!$B$2:$B$9</c:f>
              <c:numCache>
                <c:formatCode>General</c:formatCode>
                <c:ptCount val="8"/>
                <c:pt idx="0">
                  <c:v>1.0900000000000001</c:v>
                </c:pt>
                <c:pt idx="1">
                  <c:v>0.76400000000000001</c:v>
                </c:pt>
                <c:pt idx="2">
                  <c:v>4.0640000000000001</c:v>
                </c:pt>
                <c:pt idx="3">
                  <c:v>4.1189999999999998</c:v>
                </c:pt>
                <c:pt idx="4">
                  <c:v>1.9950000000000001</c:v>
                </c:pt>
                <c:pt idx="5">
                  <c:v>0.40899999999999997</c:v>
                </c:pt>
                <c:pt idx="6">
                  <c:v>0.38300000000000001</c:v>
                </c:pt>
                <c:pt idx="7">
                  <c:v>4.1369999999999996</c:v>
                </c:pt>
              </c:numCache>
            </c:numRef>
          </c:yVal>
          <c:bubbleSize>
            <c:numRef>
              <c:f>Sheet1!$C$2:$C$9</c:f>
              <c:numCache>
                <c:formatCode>General</c:formatCode>
                <c:ptCount val="8"/>
                <c:pt idx="0">
                  <c:v>562660025</c:v>
                </c:pt>
                <c:pt idx="1">
                  <c:v>464227988</c:v>
                </c:pt>
                <c:pt idx="2">
                  <c:v>108131910</c:v>
                </c:pt>
                <c:pt idx="3">
                  <c:v>105528003</c:v>
                </c:pt>
                <c:pt idx="4">
                  <c:v>101346207</c:v>
                </c:pt>
                <c:pt idx="5">
                  <c:v>61997244</c:v>
                </c:pt>
                <c:pt idx="6">
                  <c:v>32892975</c:v>
                </c:pt>
                <c:pt idx="7">
                  <c:v>23780757</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D86201-4A0D-4301-8303-F13FA698F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50F108-1B8F-4016-958A-630794B6C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5C58AE-F005-42DA-A1E7-9CA7025DE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02524F-06C3-4E87-B4B4-BC01C8EFC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A36438-1233-49BA-8749-36DE73D0C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A12E29-87E5-447C-8BD0-CCBA30003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69A73FD-4E6B-4678-8324-2D6610E1A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515C4A-D9B4-4C5D-B7C6-256748A10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87.66359999999997</c:v>
                </c:pt>
                <c:pt idx="1">
                  <c:v>455.8596</c:v>
                </c:pt>
                <c:pt idx="2">
                  <c:v>425.40260000000001</c:v>
                </c:pt>
                <c:pt idx="3">
                  <c:v>503.90859999999998</c:v>
                </c:pt>
                <c:pt idx="4">
                  <c:v>166.61779999999999</c:v>
                </c:pt>
                <c:pt idx="5">
                  <c:v>295.6549</c:v>
                </c:pt>
              </c:numCache>
            </c:numRef>
          </c:xVal>
          <c:yVal>
            <c:numRef>
              <c:f>Sheet1!$B$2:$B$7</c:f>
              <c:numCache>
                <c:formatCode>General</c:formatCode>
                <c:ptCount val="6"/>
                <c:pt idx="0">
                  <c:v>1.393</c:v>
                </c:pt>
                <c:pt idx="1">
                  <c:v>1.8</c:v>
                </c:pt>
                <c:pt idx="2">
                  <c:v>0.92900000000000005</c:v>
                </c:pt>
                <c:pt idx="3">
                  <c:v>0.54100000000000004</c:v>
                </c:pt>
                <c:pt idx="4">
                  <c:v>0.999</c:v>
                </c:pt>
                <c:pt idx="5">
                  <c:v>2.3410000000000002</c:v>
                </c:pt>
              </c:numCache>
            </c:numRef>
          </c:yVal>
          <c:bubbleSize>
            <c:numRef>
              <c:f>Sheet1!$C$2:$C$7</c:f>
              <c:numCache>
                <c:formatCode>General</c:formatCode>
                <c:ptCount val="6"/>
                <c:pt idx="0">
                  <c:v>9210988</c:v>
                </c:pt>
                <c:pt idx="1">
                  <c:v>4300124</c:v>
                </c:pt>
                <c:pt idx="2">
                  <c:v>2186144</c:v>
                </c:pt>
                <c:pt idx="3">
                  <c:v>1069294</c:v>
                </c:pt>
                <c:pt idx="4">
                  <c:v>768941</c:v>
                </c:pt>
                <c:pt idx="5">
                  <c:v>709276</c:v>
                </c:pt>
              </c:numCache>
            </c:numRef>
          </c:bubbleSize>
          <c:bubble3D val="0"/>
          <c:extLst>
            <c:ext xmlns:c15="http://schemas.microsoft.com/office/drawing/2012/chart" uri="{02D57815-91ED-43cb-92C2-25804820EDAC}">
              <c15:datalabelsRange>
                <c15:f>Sheet1!$E$2:$E$10</c15:f>
                <c15:dlblRangeCache>
                  <c:ptCount val="9"/>
                  <c:pt idx="0">
                    <c:v>L'Oreal</c:v>
                  </c:pt>
                  <c:pt idx="1">
                    <c:v>Pierre Fabre</c:v>
                  </c:pt>
                  <c:pt idx="2">
                    <c:v>Beiersdorf</c:v>
                  </c:pt>
                  <c:pt idx="3">
                    <c:v>Glaxosmithkline</c:v>
                  </c:pt>
                  <c:pt idx="4">
                    <c:v>J&amp;J</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5"/>
          <c:min val="13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98A279-DEA4-48B2-9498-8E808ACEB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C5851C-BD50-4178-8F83-DC9E6F1B1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B6AA34-31AA-4863-A6B5-D5E8A5BF7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C31188-8A7A-4BAC-B0FF-0BF99F5F4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EF6E7D-9923-42BC-81F2-E7FCE1C71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44F87D1-A3DF-4BE4-8EAB-54521DE45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1EDD227-09A1-48E3-B26D-B9FECDD60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BCE4A8-B5AF-4D47-8A9F-086885422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6.04669999999999</c:v>
                </c:pt>
                <c:pt idx="1">
                  <c:v>245.2593</c:v>
                </c:pt>
                <c:pt idx="2">
                  <c:v>252.96879999999999</c:v>
                </c:pt>
                <c:pt idx="3">
                  <c:v>133.73689999999999</c:v>
                </c:pt>
              </c:numCache>
            </c:numRef>
          </c:xVal>
          <c:yVal>
            <c:numRef>
              <c:f>Sheet1!$B$2:$B$5</c:f>
              <c:numCache>
                <c:formatCode>General</c:formatCode>
                <c:ptCount val="4"/>
                <c:pt idx="0">
                  <c:v>0.97099999999999997</c:v>
                </c:pt>
                <c:pt idx="1">
                  <c:v>1.1060000000000001</c:v>
                </c:pt>
                <c:pt idx="2">
                  <c:v>1.095</c:v>
                </c:pt>
                <c:pt idx="3">
                  <c:v>0.83899999999999997</c:v>
                </c:pt>
              </c:numCache>
            </c:numRef>
          </c:yVal>
          <c:bubbleSize>
            <c:numRef>
              <c:f>Sheet1!$C$2:$C$5</c:f>
              <c:numCache>
                <c:formatCode>General</c:formatCode>
                <c:ptCount val="4"/>
                <c:pt idx="0">
                  <c:v>16134015</c:v>
                </c:pt>
                <c:pt idx="1">
                  <c:v>8223055</c:v>
                </c:pt>
                <c:pt idx="2">
                  <c:v>1516295</c:v>
                </c:pt>
                <c:pt idx="3">
                  <c:v>562096</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Australian Gold</c:v>
                  </c:pt>
                  <c:pt idx="3">
                    <c:v>Cerapil De San Luis S.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7"/>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D19897-F25B-470E-9E38-CD8167888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195303-1758-4118-AC51-D63FB517A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377C7C-D216-4CD8-B7CB-B5A0241FF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DA97AE-9686-41F6-8347-C9CC60955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6B0A1B0-B8E6-4F7B-82C2-3AF538232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A3767A4-EA52-4D1C-9DD5-585E7C300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6DF0D91-CBD6-41CF-924C-B28016F00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E0BF1A-519D-4750-B2AE-0358FF4CB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7.833</c:v>
                </c:pt>
                <c:pt idx="1">
                  <c:v>114.9379</c:v>
                </c:pt>
                <c:pt idx="2">
                  <c:v>221.82249999999999</c:v>
                </c:pt>
                <c:pt idx="3">
                  <c:v>53.630499999999998</c:v>
                </c:pt>
              </c:numCache>
            </c:numRef>
          </c:xVal>
          <c:yVal>
            <c:numRef>
              <c:f>Sheet1!$B$2:$B$5</c:f>
              <c:numCache>
                <c:formatCode>General</c:formatCode>
                <c:ptCount val="4"/>
                <c:pt idx="0">
                  <c:v>0.94499999999999995</c:v>
                </c:pt>
                <c:pt idx="1">
                  <c:v>0.997</c:v>
                </c:pt>
                <c:pt idx="2">
                  <c:v>1.778</c:v>
                </c:pt>
                <c:pt idx="3">
                  <c:v>0.39500000000000002</c:v>
                </c:pt>
              </c:numCache>
            </c:numRef>
          </c:yVal>
          <c:bubbleSize>
            <c:numRef>
              <c:f>Sheet1!$C$2:$C$5</c:f>
              <c:numCache>
                <c:formatCode>General</c:formatCode>
                <c:ptCount val="4"/>
                <c:pt idx="0">
                  <c:v>16668025</c:v>
                </c:pt>
                <c:pt idx="1">
                  <c:v>4436603</c:v>
                </c:pt>
                <c:pt idx="2">
                  <c:v>438765</c:v>
                </c:pt>
                <c:pt idx="3">
                  <c:v>284027</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Australian Gold</c:v>
                  </c:pt>
                  <c:pt idx="3">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
          <c:min val="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73B48A-3C0D-45B1-A8B2-C251143B5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CA7397-911C-48E1-85CA-391CC530A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9AACBD-2679-4C42-AFED-4563FC7BE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596832-EBCB-42B8-8849-C23CF05FD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0F5137-208E-412B-8A23-593E5A62A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4FF830-D7DF-4734-849D-169F673CC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9E081A-3BFF-4596-A30C-C4F687262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60FB99-A5D6-48E5-8E2F-21BBD8F59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4.44210000000001</c:v>
                </c:pt>
                <c:pt idx="1">
                  <c:v>206.53200000000001</c:v>
                </c:pt>
                <c:pt idx="2">
                  <c:v>291.04020000000003</c:v>
                </c:pt>
                <c:pt idx="3">
                  <c:v>591.12919999999997</c:v>
                </c:pt>
                <c:pt idx="4">
                  <c:v>276.99160000000001</c:v>
                </c:pt>
                <c:pt idx="5">
                  <c:v>84.543599999999998</c:v>
                </c:pt>
                <c:pt idx="6">
                  <c:v>76.5351</c:v>
                </c:pt>
                <c:pt idx="7">
                  <c:v>556.02909999999997</c:v>
                </c:pt>
              </c:numCache>
            </c:numRef>
          </c:xVal>
          <c:yVal>
            <c:numRef>
              <c:f>Sheet1!$B$2:$B$9</c:f>
              <c:numCache>
                <c:formatCode>General</c:formatCode>
                <c:ptCount val="8"/>
                <c:pt idx="0">
                  <c:v>1.089</c:v>
                </c:pt>
                <c:pt idx="1">
                  <c:v>0.746</c:v>
                </c:pt>
                <c:pt idx="2">
                  <c:v>1.9770000000000001</c:v>
                </c:pt>
                <c:pt idx="3">
                  <c:v>4.1139999999999999</c:v>
                </c:pt>
                <c:pt idx="4">
                  <c:v>3.8769999999999998</c:v>
                </c:pt>
                <c:pt idx="5">
                  <c:v>0.39600000000000002</c:v>
                </c:pt>
                <c:pt idx="6">
                  <c:v>0.378</c:v>
                </c:pt>
                <c:pt idx="7">
                  <c:v>4.0570000000000004</c:v>
                </c:pt>
              </c:numCache>
            </c:numRef>
          </c:yVal>
          <c:bubbleSize>
            <c:numRef>
              <c:f>Sheet1!$C$2:$C$9</c:f>
              <c:numCache>
                <c:formatCode>General</c:formatCode>
                <c:ptCount val="8"/>
                <c:pt idx="0">
                  <c:v>120511653</c:v>
                </c:pt>
                <c:pt idx="1">
                  <c:v>97014272</c:v>
                </c:pt>
                <c:pt idx="2">
                  <c:v>28036189</c:v>
                </c:pt>
                <c:pt idx="3">
                  <c:v>25478849</c:v>
                </c:pt>
                <c:pt idx="4">
                  <c:v>22529666</c:v>
                </c:pt>
                <c:pt idx="5">
                  <c:v>13021060</c:v>
                </c:pt>
                <c:pt idx="6">
                  <c:v>8185349</c:v>
                </c:pt>
                <c:pt idx="7">
                  <c:v>3778774</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Isdin</c:v>
                  </c:pt>
                  <c:pt idx="4">
                    <c:v>L'Oreal</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88F5F2-7C65-404F-BF4B-DE7381BAE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CB488D-E76D-49CC-A654-90F7E65A3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54ADD4-9178-417E-9BE7-D9311EF34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A8B64F-CDE6-49C3-97DF-4B7321D0D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55AA56-D431-483F-8C0A-6DA8AF70B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85EBCE-3427-4D85-9A2F-0D1253DD1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24CDCFF-F242-47F5-A5D1-912B39705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F44A2C-F6EB-4045-93D9-B26AEB765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69200000000001</c:v>
                </c:pt>
                <c:pt idx="1">
                  <c:v>460.67140000000001</c:v>
                </c:pt>
                <c:pt idx="2">
                  <c:v>177.94710000000001</c:v>
                </c:pt>
                <c:pt idx="3">
                  <c:v>495.51510000000002</c:v>
                </c:pt>
                <c:pt idx="4">
                  <c:v>527.24919999999997</c:v>
                </c:pt>
                <c:pt idx="5">
                  <c:v>346.16039999999998</c:v>
                </c:pt>
              </c:numCache>
            </c:numRef>
          </c:xVal>
          <c:yVal>
            <c:numRef>
              <c:f>Sheet1!$B$2:$B$7</c:f>
              <c:numCache>
                <c:formatCode>General</c:formatCode>
                <c:ptCount val="6"/>
                <c:pt idx="0">
                  <c:v>1.667</c:v>
                </c:pt>
                <c:pt idx="1">
                  <c:v>0.73</c:v>
                </c:pt>
                <c:pt idx="2">
                  <c:v>1.228</c:v>
                </c:pt>
                <c:pt idx="3">
                  <c:v>17.943999999999999</c:v>
                </c:pt>
                <c:pt idx="4">
                  <c:v>0.78500000000000003</c:v>
                </c:pt>
                <c:pt idx="5">
                  <c:v>0</c:v>
                </c:pt>
              </c:numCache>
            </c:numRef>
          </c:yVal>
          <c:bubbleSize>
            <c:numRef>
              <c:f>Sheet1!$C$2:$C$7</c:f>
              <c:numCache>
                <c:formatCode>General</c:formatCode>
                <c:ptCount val="6"/>
                <c:pt idx="0">
                  <c:v>370445</c:v>
                </c:pt>
                <c:pt idx="1">
                  <c:v>260740</c:v>
                </c:pt>
                <c:pt idx="2">
                  <c:v>238805</c:v>
                </c:pt>
                <c:pt idx="3">
                  <c:v>213567</c:v>
                </c:pt>
                <c:pt idx="4">
                  <c:v>165029</c:v>
                </c:pt>
                <c:pt idx="5">
                  <c:v>64732</c:v>
                </c:pt>
              </c:numCache>
            </c:numRef>
          </c:bubbleSize>
          <c:bubble3D val="0"/>
          <c:extLst>
            <c:ext xmlns:c15="http://schemas.microsoft.com/office/drawing/2012/chart" uri="{02D57815-91ED-43cb-92C2-25804820EDAC}">
              <c15:datalabelsRange>
                <c15:f>Sheet1!$E$2:$E$10</c15:f>
                <c15:dlblRangeCache>
                  <c:ptCount val="9"/>
                  <c:pt idx="0">
                    <c:v>L'Oreal</c:v>
                  </c:pt>
                  <c:pt idx="1">
                    <c:v>Beiersdorf</c:v>
                  </c:pt>
                  <c:pt idx="2">
                    <c:v>J&amp;J</c:v>
                  </c:pt>
                  <c:pt idx="3">
                    <c:v>Pierre Fabre</c:v>
                  </c:pt>
                  <c:pt idx="4">
                    <c:v>Glaxosmithkline</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33"/>
          <c:min val="14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ECD4C3-2208-4E76-93B1-648DA7E89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B5A01F-9713-44DD-A56D-8842462F9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5D694A-4CAF-4B97-830C-12D4282D3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98B57E-DFE6-4BBD-B6D0-33FC8DEDA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AC1541E-2918-4084-935C-10A89E3EC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D126205-F468-40DA-8244-5DA3BFBE0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DA0C29-DF75-4723-B23A-360736935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EFC0E87-755B-403D-8C37-52ED37A12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1.03949999999998</c:v>
                </c:pt>
                <c:pt idx="1">
                  <c:v>245.23140000000001</c:v>
                </c:pt>
                <c:pt idx="2">
                  <c:v>137.20750000000001</c:v>
                </c:pt>
                <c:pt idx="3">
                  <c:v>329.11489999999998</c:v>
                </c:pt>
              </c:numCache>
            </c:numRef>
          </c:xVal>
          <c:yVal>
            <c:numRef>
              <c:f>Sheet1!$B$2:$B$5</c:f>
              <c:numCache>
                <c:formatCode>General</c:formatCode>
                <c:ptCount val="4"/>
                <c:pt idx="0">
                  <c:v>1.0249999999999999</c:v>
                </c:pt>
                <c:pt idx="1">
                  <c:v>1.145</c:v>
                </c:pt>
                <c:pt idx="2">
                  <c:v>0.86499999999999999</c:v>
                </c:pt>
                <c:pt idx="3">
                  <c:v>1.3049999999999999</c:v>
                </c:pt>
              </c:numCache>
            </c:numRef>
          </c:yVal>
          <c:bubbleSize>
            <c:numRef>
              <c:f>Sheet1!$C$2:$C$5</c:f>
              <c:numCache>
                <c:formatCode>General</c:formatCode>
                <c:ptCount val="4"/>
                <c:pt idx="0">
                  <c:v>2844809</c:v>
                </c:pt>
                <c:pt idx="1">
                  <c:v>1015258</c:v>
                </c:pt>
                <c:pt idx="2">
                  <c:v>234076</c:v>
                </c:pt>
                <c:pt idx="3">
                  <c:v>77342</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Cerapil De San Luis S.R.I.</c:v>
                  </c:pt>
                  <c:pt idx="3">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95"/>
          <c:min val="1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F76CB4-C774-4F35-B63C-C90733D89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4F4D71-2AC5-4058-8791-21EB0C54C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DF6BF4-F288-4C7A-96FA-504CB7AFB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8CEF8D6-5406-4BCC-A494-0DB9EA2D1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51EA623-100E-4D79-B5DE-C8B6BD21A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414A8BF-F0D7-4356-A20C-BAF8AFA2D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9EBC6F-8071-4CCF-8907-C98A4F0E8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1172832-B392-48D1-B5A7-254F8F2AF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51.59389999999999</c:v>
                </c:pt>
                <c:pt idx="1">
                  <c:v>117.3258</c:v>
                </c:pt>
                <c:pt idx="2">
                  <c:v>54.368899999999996</c:v>
                </c:pt>
              </c:numCache>
            </c:numRef>
          </c:xVal>
          <c:yVal>
            <c:numRef>
              <c:f>Sheet1!$B$2:$B$4</c:f>
              <c:numCache>
                <c:formatCode>General</c:formatCode>
                <c:ptCount val="3"/>
                <c:pt idx="0">
                  <c:v>0.99099999999999999</c:v>
                </c:pt>
                <c:pt idx="1">
                  <c:v>1.079</c:v>
                </c:pt>
                <c:pt idx="2">
                  <c:v>0.42099999999999999</c:v>
                </c:pt>
              </c:numCache>
            </c:numRef>
          </c:yVal>
          <c:bubbleSize>
            <c:numRef>
              <c:f>Sheet1!$C$2:$C$4</c:f>
              <c:numCache>
                <c:formatCode>General</c:formatCode>
                <c:ptCount val="3"/>
                <c:pt idx="0">
                  <c:v>3409347</c:v>
                </c:pt>
                <c:pt idx="1">
                  <c:v>903761</c:v>
                </c:pt>
                <c:pt idx="2">
                  <c:v>53499</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2"/>
          <c:min val="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13456C-244B-4143-AAF6-359781FB2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B9F120-EEC6-42F3-910B-6DE41C96A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48C36A-7DD8-4139-A5FD-67536E4A9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7E3837-0D86-4339-B2EE-F1156B91F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8670D6-37D1-4F28-8B5E-EDEFDF8CC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D66B52-5BEC-49B2-9449-0CAC6E895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CB1AD2-49EC-411E-9DE1-BD2EE86DA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61AC21-12EA-4E09-AFDE-DA9F90C5C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63650000000001</c:v>
                </c:pt>
                <c:pt idx="1">
                  <c:v>210.92689999999999</c:v>
                </c:pt>
                <c:pt idx="2">
                  <c:v>229.2878</c:v>
                </c:pt>
                <c:pt idx="3">
                  <c:v>590.55079999999998</c:v>
                </c:pt>
                <c:pt idx="4">
                  <c:v>290.10489999999999</c:v>
                </c:pt>
                <c:pt idx="5">
                  <c:v>84.980599999999995</c:v>
                </c:pt>
                <c:pt idx="6">
                  <c:v>592.2799</c:v>
                </c:pt>
                <c:pt idx="7">
                  <c:v>214.86019999999999</c:v>
                </c:pt>
              </c:numCache>
            </c:numRef>
          </c:xVal>
          <c:yVal>
            <c:numRef>
              <c:f>Sheet1!$B$2:$B$9</c:f>
              <c:numCache>
                <c:formatCode>General</c:formatCode>
                <c:ptCount val="8"/>
                <c:pt idx="0">
                  <c:v>1.042</c:v>
                </c:pt>
                <c:pt idx="1">
                  <c:v>0.75700000000000001</c:v>
                </c:pt>
                <c:pt idx="2">
                  <c:v>0.748</c:v>
                </c:pt>
                <c:pt idx="3">
                  <c:v>3.9620000000000002</c:v>
                </c:pt>
                <c:pt idx="4">
                  <c:v>1.9990000000000001</c:v>
                </c:pt>
                <c:pt idx="5">
                  <c:v>0.438</c:v>
                </c:pt>
                <c:pt idx="6">
                  <c:v>5.0540000000000003</c:v>
                </c:pt>
                <c:pt idx="7">
                  <c:v>2.6779999999999999</c:v>
                </c:pt>
              </c:numCache>
            </c:numRef>
          </c:yVal>
          <c:bubbleSize>
            <c:numRef>
              <c:f>Sheet1!$C$2:$C$9</c:f>
              <c:numCache>
                <c:formatCode>General</c:formatCode>
                <c:ptCount val="8"/>
                <c:pt idx="0">
                  <c:v>88331422</c:v>
                </c:pt>
                <c:pt idx="1">
                  <c:v>38701083</c:v>
                </c:pt>
                <c:pt idx="2">
                  <c:v>30962337</c:v>
                </c:pt>
                <c:pt idx="3">
                  <c:v>17830499</c:v>
                </c:pt>
                <c:pt idx="4">
                  <c:v>16158843</c:v>
                </c:pt>
                <c:pt idx="5">
                  <c:v>12462149</c:v>
                </c:pt>
                <c:pt idx="6">
                  <c:v>6878146</c:v>
                </c:pt>
                <c:pt idx="7">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C8C7E0-40C5-49F5-B7BE-7CF6374EC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5F834B-4658-43BF-8D6F-4E6513C11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2E8E82-BBE6-4525-A262-95912833C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AFCF2F-ECD2-400F-8BC5-47E1093FC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71C9F7-F568-409F-B3E0-FDE642CF0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3F9DA0-EA1C-4DB8-A41E-9B833C14F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93A715-24F3-4391-B375-E9354965F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1A477C-75C7-433A-9F61-FBB09EA21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6.57339999999999</c:v>
                </c:pt>
                <c:pt idx="1">
                  <c:v>199.815</c:v>
                </c:pt>
                <c:pt idx="2">
                  <c:v>552.87279999999998</c:v>
                </c:pt>
                <c:pt idx="3">
                  <c:v>393.63249999999999</c:v>
                </c:pt>
                <c:pt idx="4">
                  <c:v>293.06799999999998</c:v>
                </c:pt>
                <c:pt idx="5">
                  <c:v>521.02620000000002</c:v>
                </c:pt>
                <c:pt idx="6">
                  <c:v>83.236599999999996</c:v>
                </c:pt>
                <c:pt idx="7">
                  <c:v>493.8476</c:v>
                </c:pt>
              </c:numCache>
            </c:numRef>
          </c:xVal>
          <c:yVal>
            <c:numRef>
              <c:f>Sheet1!$B$2:$B$9</c:f>
              <c:numCache>
                <c:formatCode>General</c:formatCode>
                <c:ptCount val="8"/>
                <c:pt idx="0">
                  <c:v>1.0069999999999999</c:v>
                </c:pt>
                <c:pt idx="1">
                  <c:v>0.60699999999999998</c:v>
                </c:pt>
                <c:pt idx="2">
                  <c:v>3.38</c:v>
                </c:pt>
                <c:pt idx="3">
                  <c:v>3.4860000000000002</c:v>
                </c:pt>
                <c:pt idx="4">
                  <c:v>1.6759999999999999</c:v>
                </c:pt>
                <c:pt idx="5">
                  <c:v>3.2330000000000001</c:v>
                </c:pt>
                <c:pt idx="6">
                  <c:v>0.33200000000000002</c:v>
                </c:pt>
                <c:pt idx="7">
                  <c:v>4.0179999999999998</c:v>
                </c:pt>
              </c:numCache>
            </c:numRef>
          </c:yVal>
          <c:bubbleSize>
            <c:numRef>
              <c:f>Sheet1!$C$2:$C$9</c:f>
              <c:numCache>
                <c:formatCode>General</c:formatCode>
                <c:ptCount val="8"/>
                <c:pt idx="0">
                  <c:v>89728880</c:v>
                </c:pt>
                <c:pt idx="1">
                  <c:v>65608065</c:v>
                </c:pt>
                <c:pt idx="2">
                  <c:v>38563986</c:v>
                </c:pt>
                <c:pt idx="3">
                  <c:v>34149588</c:v>
                </c:pt>
                <c:pt idx="4">
                  <c:v>19334577</c:v>
                </c:pt>
                <c:pt idx="5">
                  <c:v>10428339</c:v>
                </c:pt>
                <c:pt idx="6">
                  <c:v>9482901</c:v>
                </c:pt>
                <c:pt idx="7">
                  <c:v>4599203</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J&amp;J</c:v>
                  </c:pt>
                  <c:pt idx="5">
                    <c:v>Pierre Fabre</c:v>
                  </c:pt>
                  <c:pt idx="6">
                    <c:v>Total Care De Mexico</c:v>
                  </c:pt>
                  <c:pt idx="7">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3"/>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7B90C4-A5DC-446A-BC40-4A736BAA8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806FE6-C9EB-4BB6-955A-D83CC2A32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F0F7CC-F280-492A-9A24-81DE03646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22ECF6-C9FF-4929-8C54-11A8420D3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CEB901-F11A-4B94-8C0A-1D890C799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53DC608-5648-456B-A307-52F659FF9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CA24DD5-DA61-4426-8DF0-742348726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D2607E-5FA2-4BCC-BF8E-2FFC04D63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2.0369</c:v>
                </c:pt>
                <c:pt idx="1">
                  <c:v>451.14890000000003</c:v>
                </c:pt>
                <c:pt idx="2">
                  <c:v>397.2654</c:v>
                </c:pt>
                <c:pt idx="3">
                  <c:v>277.202</c:v>
                </c:pt>
                <c:pt idx="4">
                  <c:v>444.82150000000001</c:v>
                </c:pt>
              </c:numCache>
            </c:numRef>
          </c:xVal>
          <c:yVal>
            <c:numRef>
              <c:f>Sheet1!$B$2:$B$6</c:f>
              <c:numCache>
                <c:formatCode>General</c:formatCode>
                <c:ptCount val="5"/>
                <c:pt idx="0">
                  <c:v>1.2669999999999999</c:v>
                </c:pt>
                <c:pt idx="1">
                  <c:v>1.387</c:v>
                </c:pt>
                <c:pt idx="2">
                  <c:v>0.84399999999999997</c:v>
                </c:pt>
                <c:pt idx="3">
                  <c:v>1.534</c:v>
                </c:pt>
                <c:pt idx="4">
                  <c:v>0.372</c:v>
                </c:pt>
              </c:numCache>
            </c:numRef>
          </c:yVal>
          <c:bubbleSize>
            <c:numRef>
              <c:f>Sheet1!$C$2:$C$6</c:f>
              <c:numCache>
                <c:formatCode>General</c:formatCode>
                <c:ptCount val="5"/>
                <c:pt idx="0">
                  <c:v>6732910</c:v>
                </c:pt>
                <c:pt idx="1">
                  <c:v>2807951</c:v>
                </c:pt>
                <c:pt idx="2">
                  <c:v>1196166</c:v>
                </c:pt>
                <c:pt idx="3">
                  <c:v>469303</c:v>
                </c:pt>
                <c:pt idx="4">
                  <c:v>363864</c:v>
                </c:pt>
              </c:numCache>
            </c:numRef>
          </c:bubbleSize>
          <c:bubble3D val="0"/>
          <c:extLst>
            <c:ext xmlns:c15="http://schemas.microsoft.com/office/drawing/2012/chart" uri="{02D57815-91ED-43cb-92C2-25804820EDAC}">
              <c15:datalabelsRange>
                <c15:f>Sheet1!$E$2:$E$10</c15:f>
                <c15:dlblRangeCache>
                  <c:ptCount val="9"/>
                  <c:pt idx="0">
                    <c:v>L'Oreal</c:v>
                  </c:pt>
                  <c:pt idx="1">
                    <c:v>Pierre Fabre</c:v>
                  </c:pt>
                  <c:pt idx="2">
                    <c:v>Beiersdorf</c:v>
                  </c:pt>
                  <c:pt idx="3">
                    <c:v>Bioderma</c:v>
                  </c:pt>
                  <c:pt idx="4">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1"/>
          <c:min val="2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7C3D1B-C4D5-4A69-926D-0F20EC173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60D2F8-3DB3-4C86-AC42-DFD9F1845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F329BF-D553-481A-B0F3-248BA4D0A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6FDCD7E-1B88-451F-ADD9-E0A83D14B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85BCCEF-723E-49DE-98AE-C0C3DBEBF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9D9185F-DB73-4173-8D4D-762D0845E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AF9D355-1874-4939-A1F1-FF7ADED8A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E71248-DAF2-4CF3-9ADB-70F0AEF55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6174</c:v>
                </c:pt>
                <c:pt idx="1">
                  <c:v>242.26339999999999</c:v>
                </c:pt>
                <c:pt idx="2">
                  <c:v>685.87379999999996</c:v>
                </c:pt>
              </c:numCache>
            </c:numRef>
          </c:xVal>
          <c:yVal>
            <c:numRef>
              <c:f>Sheet1!$B$2:$B$4</c:f>
              <c:numCache>
                <c:formatCode>General</c:formatCode>
                <c:ptCount val="3"/>
                <c:pt idx="0">
                  <c:v>0.92700000000000005</c:v>
                </c:pt>
                <c:pt idx="1">
                  <c:v>1.175</c:v>
                </c:pt>
                <c:pt idx="2">
                  <c:v>3.5230000000000001</c:v>
                </c:pt>
              </c:numCache>
            </c:numRef>
          </c:yVal>
          <c:bubbleSize>
            <c:numRef>
              <c:f>Sheet1!$C$2:$C$4</c:f>
              <c:numCache>
                <c:formatCode>General</c:formatCode>
                <c:ptCount val="3"/>
                <c:pt idx="0">
                  <c:v>1660469</c:v>
                </c:pt>
                <c:pt idx="1">
                  <c:v>462723</c:v>
                </c:pt>
                <c:pt idx="2">
                  <c:v>70645</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3"/>
          <c:min val="18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ABF017-3EC6-4C9E-9316-91CEF635D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71E3DC-D451-4935-ACE2-8FE09090C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EDC967-C047-487B-A49A-64EEE15DC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7133A44-92CD-4FDC-AE3A-E35688A10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F983566-A027-461B-9045-4A8826CA3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C5AF791-BCD4-43B0-9820-A9EF91042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73A772-F4E9-459B-94BE-5D2CC4651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793E0B-4443-4079-AD5F-3D8A219EA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35.09520000000001</c:v>
                </c:pt>
                <c:pt idx="1">
                  <c:v>108.1014</c:v>
                </c:pt>
                <c:pt idx="2">
                  <c:v>409.27170000000001</c:v>
                </c:pt>
              </c:numCache>
            </c:numRef>
          </c:xVal>
          <c:yVal>
            <c:numRef>
              <c:f>Sheet1!$B$2:$B$4</c:f>
              <c:numCache>
                <c:formatCode>General</c:formatCode>
                <c:ptCount val="3"/>
                <c:pt idx="0">
                  <c:v>1.016</c:v>
                </c:pt>
                <c:pt idx="1">
                  <c:v>1.0309999999999999</c:v>
                </c:pt>
                <c:pt idx="2">
                  <c:v>4.7830000000000004</c:v>
                </c:pt>
              </c:numCache>
            </c:numRef>
          </c:yVal>
          <c:bubbleSize>
            <c:numRef>
              <c:f>Sheet1!$C$2:$C$4</c:f>
              <c:numCache>
                <c:formatCode>General</c:formatCode>
                <c:ptCount val="3"/>
                <c:pt idx="0">
                  <c:v>1606282</c:v>
                </c:pt>
                <c:pt idx="1">
                  <c:v>500077</c:v>
                </c:pt>
                <c:pt idx="2">
                  <c:v>37653</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1"/>
          <c:min val="8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CAAD80-5A80-4261-A5B3-567D7B5FA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1742BB-D728-4F1F-AC24-FB6E85EEA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8C7F1A-6325-4F8E-AD2D-E30133522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2BE717-30BC-41D2-BB2A-DB97E0720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E0BEFA-839D-44F2-A966-366CB0B66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196E19-E192-496F-A967-FBFEBFF89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56A1A4-8726-4B88-8E84-63A2C048C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96487E-5606-4132-94D7-6AD094B45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80289999999999</c:v>
                </c:pt>
                <c:pt idx="1">
                  <c:v>222.45570000000001</c:v>
                </c:pt>
                <c:pt idx="2">
                  <c:v>282.05270000000002</c:v>
                </c:pt>
                <c:pt idx="3">
                  <c:v>87.390699999999995</c:v>
                </c:pt>
                <c:pt idx="4">
                  <c:v>232.3272</c:v>
                </c:pt>
                <c:pt idx="5">
                  <c:v>79.212199999999996</c:v>
                </c:pt>
                <c:pt idx="6">
                  <c:v>605.09690000000001</c:v>
                </c:pt>
              </c:numCache>
            </c:numRef>
          </c:xVal>
          <c:yVal>
            <c:numRef>
              <c:f>Sheet1!$B$2:$B$8</c:f>
              <c:numCache>
                <c:formatCode>General</c:formatCode>
                <c:ptCount val="7"/>
                <c:pt idx="0">
                  <c:v>1.147</c:v>
                </c:pt>
                <c:pt idx="1">
                  <c:v>0.876</c:v>
                </c:pt>
                <c:pt idx="2">
                  <c:v>2.0840000000000001</c:v>
                </c:pt>
                <c:pt idx="3">
                  <c:v>0.47299999999999998</c:v>
                </c:pt>
                <c:pt idx="4">
                  <c:v>4.3680000000000003</c:v>
                </c:pt>
                <c:pt idx="5">
                  <c:v>0.44800000000000001</c:v>
                </c:pt>
                <c:pt idx="6">
                  <c:v>4.97</c:v>
                </c:pt>
              </c:numCache>
            </c:numRef>
          </c:yVal>
          <c:bubbleSize>
            <c:numRef>
              <c:f>Sheet1!$C$2:$C$8</c:f>
              <c:numCache>
                <c:formatCode>General</c:formatCode>
                <c:ptCount val="7"/>
                <c:pt idx="0">
                  <c:v>109092245</c:v>
                </c:pt>
                <c:pt idx="1">
                  <c:v>81952907</c:v>
                </c:pt>
                <c:pt idx="2">
                  <c:v>13126731</c:v>
                </c:pt>
                <c:pt idx="3">
                  <c:v>10154627</c:v>
                </c:pt>
                <c:pt idx="4">
                  <c:v>8143532</c:v>
                </c:pt>
                <c:pt idx="5">
                  <c:v>7336634</c:v>
                </c:pt>
                <c:pt idx="6">
                  <c:v>3786091</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Total Care De Mexico</c:v>
                  </c:pt>
                  <c:pt idx="4">
                    <c:v>L'Oreal</c:v>
                  </c:pt>
                  <c:pt idx="5">
                    <c:v>Inds.Lavin De Mexico</c:v>
                  </c:pt>
                  <c:pt idx="6">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997061-39D6-43E8-BD16-F701590A0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06B908-B237-4BE0-9B47-8B5D64FF8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A6625E-F1F2-4EC6-A26F-109504331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ABD040-61AD-4FD5-8F59-8D380FF61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1962ED-0241-416B-A804-04DA20E4A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B239E05-1359-46D2-A31A-D677CE858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684801-4072-4EC8-85E7-7FBFAE80D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30FEF0-D177-48EE-A1E2-C1FB4A3D8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5.5805</c:v>
                </c:pt>
                <c:pt idx="1">
                  <c:v>634.89549999999997</c:v>
                </c:pt>
                <c:pt idx="2">
                  <c:v>206.268</c:v>
                </c:pt>
                <c:pt idx="3">
                  <c:v>616.33330000000001</c:v>
                </c:pt>
                <c:pt idx="4">
                  <c:v>39.879300000000001</c:v>
                </c:pt>
              </c:numCache>
            </c:numRef>
          </c:xVal>
          <c:yVal>
            <c:numRef>
              <c:f>Sheet1!$B$2:$B$6</c:f>
              <c:numCache>
                <c:formatCode>General</c:formatCode>
                <c:ptCount val="5"/>
                <c:pt idx="0">
                  <c:v>3.4609999999999999</c:v>
                </c:pt>
                <c:pt idx="1">
                  <c:v>3.8809999999999998</c:v>
                </c:pt>
                <c:pt idx="2">
                  <c:v>12.778</c:v>
                </c:pt>
                <c:pt idx="3">
                  <c:v>8.266</c:v>
                </c:pt>
                <c:pt idx="4">
                  <c:v>0.123</c:v>
                </c:pt>
              </c:numCache>
            </c:numRef>
          </c:yVal>
          <c:bubbleSize>
            <c:numRef>
              <c:f>Sheet1!$C$2:$C$6</c:f>
              <c:numCache>
                <c:formatCode>General</c:formatCode>
                <c:ptCount val="5"/>
                <c:pt idx="0">
                  <c:v>97549</c:v>
                </c:pt>
                <c:pt idx="1">
                  <c:v>85076</c:v>
                </c:pt>
                <c:pt idx="2">
                  <c:v>40016</c:v>
                </c:pt>
                <c:pt idx="3">
                  <c:v>25886</c:v>
                </c:pt>
                <c:pt idx="4">
                  <c:v>11565</c:v>
                </c:pt>
              </c:numCache>
            </c:numRef>
          </c:bubbleSize>
          <c:bubble3D val="0"/>
          <c:extLst>
            <c:ext xmlns:c15="http://schemas.microsoft.com/office/drawing/2012/chart" uri="{02D57815-91ED-43cb-92C2-25804820EDAC}">
              <c15:datalabelsRange>
                <c15:f>Sheet1!$E$2:$E$10</c15:f>
                <c15:dlblRangeCache>
                  <c:ptCount val="9"/>
                  <c:pt idx="0">
                    <c:v>J&amp;J</c:v>
                  </c:pt>
                  <c:pt idx="1">
                    <c:v>Glaxosmithkline</c:v>
                  </c:pt>
                  <c:pt idx="2">
                    <c:v>L'Oreal</c:v>
                  </c:pt>
                  <c:pt idx="3">
                    <c:v>Beiersdorf</c:v>
                  </c:pt>
                  <c:pt idx="4">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2"/>
          <c:min val="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6D0770-1397-4B29-9B3B-A995FC54D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A71684-A889-4E7C-98B0-0A590F905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7995FA-3A52-496E-B5FE-408E9B6FB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352DB6A-7E99-4DA8-9329-36B168DDC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63371AA-5F4C-4CB8-9A34-8085C033C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0C24D27-B881-4797-AEE9-3EACA2156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5C97ED-2DD4-46FF-9484-F916C9333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607B61-F87B-4E37-97CE-DCE257108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5.95359999999999</c:v>
                </c:pt>
                <c:pt idx="1">
                  <c:v>242.67789999999999</c:v>
                </c:pt>
                <c:pt idx="2">
                  <c:v>243.4812</c:v>
                </c:pt>
              </c:numCache>
            </c:numRef>
          </c:xVal>
          <c:yVal>
            <c:numRef>
              <c:f>Sheet1!$B$2:$B$4</c:f>
              <c:numCache>
                <c:formatCode>General</c:formatCode>
                <c:ptCount val="3"/>
                <c:pt idx="0">
                  <c:v>0.95199999999999996</c:v>
                </c:pt>
                <c:pt idx="1">
                  <c:v>1.034</c:v>
                </c:pt>
                <c:pt idx="2">
                  <c:v>0.97899999999999998</c:v>
                </c:pt>
              </c:numCache>
            </c:numRef>
          </c:yVal>
          <c:bubbleSize>
            <c:numRef>
              <c:f>Sheet1!$C$2:$C$4</c:f>
              <c:numCache>
                <c:formatCode>General</c:formatCode>
                <c:ptCount val="3"/>
                <c:pt idx="0">
                  <c:v>3306335</c:v>
                </c:pt>
                <c:pt idx="1">
                  <c:v>2876219</c:v>
                </c:pt>
                <c:pt idx="2">
                  <c:v>953229</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9"/>
          <c:min val="19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16FB68-826E-4CA5-BDBE-5692A1269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E89AA0-7D1C-4936-996C-88EAE660B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18EF4D-5307-4B4A-9372-967749B27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614896-A1DE-431B-BDFB-17816B6A4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A0F8337-222D-4171-81DD-AE7261A73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63A7C3D-55B6-4073-9877-0F12BB2E6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4C5FB69-F1BF-4BFA-93C0-C35FFEA41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465BCED-4E42-4551-9760-27D62C23E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4.11410000000001</c:v>
                </c:pt>
                <c:pt idx="1">
                  <c:v>116.82640000000001</c:v>
                </c:pt>
                <c:pt idx="2">
                  <c:v>213.8289</c:v>
                </c:pt>
                <c:pt idx="3">
                  <c:v>53.390799999999999</c:v>
                </c:pt>
              </c:numCache>
            </c:numRef>
          </c:xVal>
          <c:yVal>
            <c:numRef>
              <c:f>Sheet1!$B$2:$B$5</c:f>
              <c:numCache>
                <c:formatCode>General</c:formatCode>
                <c:ptCount val="4"/>
                <c:pt idx="0">
                  <c:v>0.86499999999999999</c:v>
                </c:pt>
                <c:pt idx="1">
                  <c:v>0.92800000000000005</c:v>
                </c:pt>
                <c:pt idx="2">
                  <c:v>1.472</c:v>
                </c:pt>
                <c:pt idx="3">
                  <c:v>0.35699999999999998</c:v>
                </c:pt>
              </c:numCache>
            </c:numRef>
          </c:yVal>
          <c:bubbleSize>
            <c:numRef>
              <c:f>Sheet1!$C$2:$C$5</c:f>
              <c:numCache>
                <c:formatCode>General</c:formatCode>
                <c:ptCount val="4"/>
                <c:pt idx="0">
                  <c:v>4165474</c:v>
                </c:pt>
                <c:pt idx="1">
                  <c:v>1124337</c:v>
                </c:pt>
                <c:pt idx="2">
                  <c:v>319888</c:v>
                </c:pt>
                <c:pt idx="3">
                  <c:v>131982</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Australian Gold</c:v>
                  </c:pt>
                  <c:pt idx="3">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AC5F20-C01D-496D-9D85-F7350D1F4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8DB855-4991-4DC7-91A4-259195DAC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E15C58-7212-425D-80C6-4ECB05A5E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AFA17D-1CB8-4EC1-9AA3-0C808DA63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5B5F6D-2FF9-4ED8-A43C-D3763D4AA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39265E-784F-40CE-881E-1C3210F99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FAEF73-C712-4BFB-9FE6-DCAB3684A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5F3FE2-4F2A-40AB-A279-8955537F1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2.43279999999999</c:v>
                </c:pt>
                <c:pt idx="1">
                  <c:v>218.61</c:v>
                </c:pt>
                <c:pt idx="2">
                  <c:v>590.55079999999998</c:v>
                </c:pt>
                <c:pt idx="3">
                  <c:v>309.10239999999999</c:v>
                </c:pt>
                <c:pt idx="4">
                  <c:v>290.10489999999999</c:v>
                </c:pt>
                <c:pt idx="5">
                  <c:v>84.957599999999999</c:v>
                </c:pt>
                <c:pt idx="6">
                  <c:v>77.155699999999996</c:v>
                </c:pt>
                <c:pt idx="7">
                  <c:v>555.53340000000003</c:v>
                </c:pt>
              </c:numCache>
            </c:numRef>
          </c:xVal>
          <c:yVal>
            <c:numRef>
              <c:f>Sheet1!$B$2:$B$9</c:f>
              <c:numCache>
                <c:formatCode>General</c:formatCode>
                <c:ptCount val="8"/>
                <c:pt idx="0">
                  <c:v>1.1060000000000001</c:v>
                </c:pt>
                <c:pt idx="1">
                  <c:v>0.76700000000000002</c:v>
                </c:pt>
                <c:pt idx="2">
                  <c:v>3.9620000000000002</c:v>
                </c:pt>
                <c:pt idx="3">
                  <c:v>4.2530000000000001</c:v>
                </c:pt>
                <c:pt idx="4">
                  <c:v>1.9990000000000001</c:v>
                </c:pt>
                <c:pt idx="5">
                  <c:v>0.438</c:v>
                </c:pt>
                <c:pt idx="6">
                  <c:v>0.39200000000000002</c:v>
                </c:pt>
                <c:pt idx="7">
                  <c:v>4.3840000000000003</c:v>
                </c:pt>
              </c:numCache>
            </c:numRef>
          </c:yVal>
          <c:bubbleSize>
            <c:numRef>
              <c:f>Sheet1!$C$2:$C$9</c:f>
              <c:numCache>
                <c:formatCode>General</c:formatCode>
                <c:ptCount val="8"/>
                <c:pt idx="0">
                  <c:v>95209568</c:v>
                </c:pt>
                <c:pt idx="1">
                  <c:v>71509069</c:v>
                </c:pt>
                <c:pt idx="2">
                  <c:v>17830499</c:v>
                </c:pt>
                <c:pt idx="3">
                  <c:v>16409939</c:v>
                </c:pt>
                <c:pt idx="4">
                  <c:v>16158843</c:v>
                </c:pt>
                <c:pt idx="5">
                  <c:v>12463870</c:v>
                </c:pt>
                <c:pt idx="6">
                  <c:v>6946792</c:v>
                </c:pt>
                <c:pt idx="7">
                  <c:v>3533748</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78A165-DC6A-4306-9227-1F8215C52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9AC4D5-393A-4C24-A871-9A19B0782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51FC86-F4BF-43B4-B97B-F98EA2CEA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B42E09-19DB-4889-8D60-1CB8DA09A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C2EF0D-CAD5-416E-8F96-10F3B487E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0E53C8-19D3-44DA-8BB7-7DB1D8E4E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61D41B9-C605-416E-BAB9-513087432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D68F20-AA14-43DF-BFFF-5E5D8C666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01.27420000000001</c:v>
                </c:pt>
                <c:pt idx="1">
                  <c:v>462.58640000000003</c:v>
                </c:pt>
                <c:pt idx="2">
                  <c:v>452.64240000000001</c:v>
                </c:pt>
                <c:pt idx="3">
                  <c:v>534.23440000000005</c:v>
                </c:pt>
                <c:pt idx="4">
                  <c:v>180.78749999999999</c:v>
                </c:pt>
                <c:pt idx="5">
                  <c:v>325.45260000000002</c:v>
                </c:pt>
              </c:numCache>
            </c:numRef>
          </c:xVal>
          <c:yVal>
            <c:numRef>
              <c:f>Sheet1!$B$2:$B$7</c:f>
              <c:numCache>
                <c:formatCode>General</c:formatCode>
                <c:ptCount val="6"/>
                <c:pt idx="0">
                  <c:v>1.292</c:v>
                </c:pt>
                <c:pt idx="1">
                  <c:v>2.5329999999999999</c:v>
                </c:pt>
                <c:pt idx="2">
                  <c:v>0.96699999999999997</c:v>
                </c:pt>
                <c:pt idx="3">
                  <c:v>0.50900000000000001</c:v>
                </c:pt>
                <c:pt idx="4">
                  <c:v>0.88800000000000001</c:v>
                </c:pt>
                <c:pt idx="5">
                  <c:v>6.4080000000000004</c:v>
                </c:pt>
              </c:numCache>
            </c:numRef>
          </c:yVal>
          <c:bubbleSize>
            <c:numRef>
              <c:f>Sheet1!$C$2:$C$7</c:f>
              <c:numCache>
                <c:formatCode>General</c:formatCode>
                <c:ptCount val="6"/>
                <c:pt idx="0">
                  <c:v>845074</c:v>
                </c:pt>
                <c:pt idx="1">
                  <c:v>522260</c:v>
                </c:pt>
                <c:pt idx="2">
                  <c:v>273396</c:v>
                </c:pt>
                <c:pt idx="3">
                  <c:v>180037</c:v>
                </c:pt>
                <c:pt idx="4">
                  <c:v>141195</c:v>
                </c:pt>
                <c:pt idx="5">
                  <c:v>75505</c:v>
                </c:pt>
              </c:numCache>
            </c:numRef>
          </c:bubbleSize>
          <c:bubble3D val="0"/>
          <c:extLst>
            <c:ext xmlns:c15="http://schemas.microsoft.com/office/drawing/2012/chart" uri="{02D57815-91ED-43cb-92C2-25804820EDAC}">
              <c15:datalabelsRange>
                <c15:f>Sheet1!$E$2:$E$10</c15:f>
                <c15:dlblRangeCache>
                  <c:ptCount val="9"/>
                  <c:pt idx="0">
                    <c:v>L'Oreal</c:v>
                  </c:pt>
                  <c:pt idx="1">
                    <c:v>Pierre Fabre</c:v>
                  </c:pt>
                  <c:pt idx="2">
                    <c:v>Beiersdorf</c:v>
                  </c:pt>
                  <c:pt idx="3">
                    <c:v>Glaxosmithkline</c:v>
                  </c:pt>
                  <c:pt idx="4">
                    <c:v>J&amp;J</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41"/>
          <c:min val="14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439C366-4876-4CA9-9B37-B47D7F8CD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AE4EC2B-26B1-4A2F-A69D-2A8AB4E9D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DEB9F48-6278-4010-A7F7-3D26D1381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8FA8879-A580-49B9-834A-6687ED3E0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EE58FFF-6C10-4734-A100-04D0BC792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C54CE24-37FE-4B0E-8664-51FB01322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157B498-D627-4D19-9EAD-A4BA1B796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DDBF950-998B-48C1-9895-590306CCF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62.58640000000003</c:v>
                </c:pt>
                <c:pt idx="1">
                  <c:v>311.35599999999999</c:v>
                </c:pt>
                <c:pt idx="2">
                  <c:v>358.88440000000003</c:v>
                </c:pt>
                <c:pt idx="3">
                  <c:v>451.27120000000002</c:v>
                </c:pt>
                <c:pt idx="4">
                  <c:v>534.23440000000005</c:v>
                </c:pt>
                <c:pt idx="5">
                  <c:v>180.78749999999999</c:v>
                </c:pt>
                <c:pt idx="6">
                  <c:v>325.45260000000002</c:v>
                </c:pt>
                <c:pt idx="7">
                  <c:v>305.5</c:v>
                </c:pt>
              </c:numCache>
            </c:numRef>
          </c:xVal>
          <c:yVal>
            <c:numRef>
              <c:f>Sheet1!$B$2:$B$9</c:f>
              <c:numCache>
                <c:formatCode>General</c:formatCode>
                <c:ptCount val="8"/>
                <c:pt idx="0">
                  <c:v>2.5329999999999999</c:v>
                </c:pt>
                <c:pt idx="1">
                  <c:v>2.9420000000000002</c:v>
                </c:pt>
                <c:pt idx="2">
                  <c:v>0.72199999999999998</c:v>
                </c:pt>
                <c:pt idx="3">
                  <c:v>1.0269999999999999</c:v>
                </c:pt>
                <c:pt idx="4">
                  <c:v>0.50900000000000001</c:v>
                </c:pt>
                <c:pt idx="5">
                  <c:v>0.88800000000000001</c:v>
                </c:pt>
                <c:pt idx="6">
                  <c:v>6.4080000000000004</c:v>
                </c:pt>
                <c:pt idx="7">
                  <c:v>0</c:v>
                </c:pt>
              </c:numCache>
            </c:numRef>
          </c:yVal>
          <c:bubbleSize>
            <c:numRef>
              <c:f>Sheet1!$C$2:$C$9</c:f>
              <c:numCache>
                <c:formatCode>General</c:formatCode>
                <c:ptCount val="8"/>
                <c:pt idx="0">
                  <c:v>522260</c:v>
                </c:pt>
                <c:pt idx="1">
                  <c:v>485404</c:v>
                </c:pt>
                <c:pt idx="2">
                  <c:v>276341</c:v>
                </c:pt>
                <c:pt idx="3">
                  <c:v>266250</c:v>
                </c:pt>
                <c:pt idx="4">
                  <c:v>180037</c:v>
                </c:pt>
                <c:pt idx="5">
                  <c:v>141195</c:v>
                </c:pt>
                <c:pt idx="6">
                  <c:v>75505</c:v>
                </c:pt>
                <c:pt idx="7">
                  <c:v>611</c:v>
                </c:pt>
              </c:numCache>
            </c:numRef>
          </c:bubbleSize>
          <c:bubble3D val="0"/>
          <c:extLst>
            <c:ext xmlns:c15="http://schemas.microsoft.com/office/drawing/2012/chart" uri="{02D57815-91ED-43cb-92C2-25804820EDAC}">
              <c15:datalabelsRange>
                <c15:f>Sheet1!$E$2:$E$10</c15:f>
                <c15:dlblRangeCache>
                  <c:ptCount val="9"/>
                  <c:pt idx="0">
                    <c:v>Avene</c:v>
                  </c:pt>
                  <c:pt idx="1">
                    <c:v>La Roche-Posay</c:v>
                  </c:pt>
                  <c:pt idx="2">
                    <c:v>Vichy</c:v>
                  </c:pt>
                  <c:pt idx="3">
                    <c:v>Eucerin</c:v>
                  </c:pt>
                  <c:pt idx="4">
                    <c:v>Eclipsol</c:v>
                  </c:pt>
                  <c:pt idx="5">
                    <c:v>Neutrogena</c:v>
                  </c:pt>
                  <c:pt idx="6">
                    <c:v>Photoderm</c:v>
                  </c:pt>
                  <c:pt idx="7">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41"/>
          <c:min val="14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45B193-6B17-4D0A-B2D2-CD375E91D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8CD16A-1C94-4612-9DB9-2B310BDFA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0BC5D9-BB08-45A4-85AB-248CC2656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1304D9-BEC6-4E1F-9A80-A6EF44EF9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14D2C86-38D0-4D86-8631-AAC8BC4A0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907C66-36EB-4B78-9859-A7554F222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A443256-BBFA-478D-9F63-728517A97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B5D596-0B59-4025-9B5E-96434F318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6.89420000000001</c:v>
                </c:pt>
                <c:pt idx="1">
                  <c:v>242.9085</c:v>
                </c:pt>
                <c:pt idx="2">
                  <c:v>250.85740000000001</c:v>
                </c:pt>
                <c:pt idx="3">
                  <c:v>134.12180000000001</c:v>
                </c:pt>
              </c:numCache>
            </c:numRef>
          </c:xVal>
          <c:yVal>
            <c:numRef>
              <c:f>Sheet1!$B$2:$B$5</c:f>
              <c:numCache>
                <c:formatCode>General</c:formatCode>
                <c:ptCount val="4"/>
                <c:pt idx="0">
                  <c:v>0.97</c:v>
                </c:pt>
                <c:pt idx="1">
                  <c:v>1.1000000000000001</c:v>
                </c:pt>
                <c:pt idx="2">
                  <c:v>1.1339999999999999</c:v>
                </c:pt>
                <c:pt idx="3">
                  <c:v>0.84799999999999998</c:v>
                </c:pt>
              </c:numCache>
            </c:numRef>
          </c:yVal>
          <c:bubbleSize>
            <c:numRef>
              <c:f>Sheet1!$C$2:$C$5</c:f>
              <c:numCache>
                <c:formatCode>General</c:formatCode>
                <c:ptCount val="4"/>
                <c:pt idx="0">
                  <c:v>2795266</c:v>
                </c:pt>
                <c:pt idx="1">
                  <c:v>1290330</c:v>
                </c:pt>
                <c:pt idx="2">
                  <c:v>283218</c:v>
                </c:pt>
                <c:pt idx="3">
                  <c:v>93617</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Australian Gold</c:v>
                  </c:pt>
                  <c:pt idx="3">
                    <c:v>Cerapil De San Luis S.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8"/>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0EABE4-0B66-4858-8779-F46FDA44D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F9926D-8A6D-422E-914B-0E005D95C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75D6E6-2CDD-4EB1-A0E8-6557ED59A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2571C4-09D2-4A40-A3B7-DFD75C369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DEF8B71-5780-4839-A2F1-64F20DAE7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E5BAD57-38ED-4B5E-B79F-A55870B27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E143C8-946C-4960-8E58-6E68DBBAA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9BE2F65-530B-4346-8675-365E2300F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50.37299999999999</c:v>
                </c:pt>
                <c:pt idx="1">
                  <c:v>114.5124</c:v>
                </c:pt>
                <c:pt idx="2">
                  <c:v>233.68879999999999</c:v>
                </c:pt>
                <c:pt idx="3">
                  <c:v>46.746600000000001</c:v>
                </c:pt>
              </c:numCache>
            </c:numRef>
          </c:xVal>
          <c:yVal>
            <c:numRef>
              <c:f>Sheet1!$B$2:$B$5</c:f>
              <c:numCache>
                <c:formatCode>General</c:formatCode>
                <c:ptCount val="4"/>
                <c:pt idx="0">
                  <c:v>0.96899999999999997</c:v>
                </c:pt>
                <c:pt idx="1">
                  <c:v>1.0209999999999999</c:v>
                </c:pt>
                <c:pt idx="2">
                  <c:v>2.2269999999999999</c:v>
                </c:pt>
                <c:pt idx="3">
                  <c:v>0.35399999999999998</c:v>
                </c:pt>
              </c:numCache>
            </c:numRef>
          </c:yVal>
          <c:bubbleSize>
            <c:numRef>
              <c:f>Sheet1!$C$2:$C$5</c:f>
              <c:numCache>
                <c:formatCode>General</c:formatCode>
                <c:ptCount val="4"/>
                <c:pt idx="0">
                  <c:v>2349728</c:v>
                </c:pt>
                <c:pt idx="1">
                  <c:v>647453</c:v>
                </c:pt>
                <c:pt idx="2">
                  <c:v>56319</c:v>
                </c:pt>
                <c:pt idx="3">
                  <c:v>44830</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Australian Gold</c:v>
                  </c:pt>
                  <c:pt idx="3">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0"/>
          <c:min val="3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59E729-1078-4B70-AD2E-8490CA831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42AB37-3B2C-4689-AD43-94983F420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C30BBF-3196-47CF-92FA-F4B8032EA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5A26BE-D566-400D-93A8-887E5E96A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FB5AD9-B02D-442A-A3C0-7885964F6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82CA4A-88A3-4F9C-AF81-14E26069E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EFAA01-379D-4A93-AB71-CD3D41929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E49B9B-629F-47B0-870F-44F5EACD7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8.286</c:v>
                </c:pt>
                <c:pt idx="1">
                  <c:v>257.11</c:v>
                </c:pt>
                <c:pt idx="2">
                  <c:v>587.34699999999998</c:v>
                </c:pt>
                <c:pt idx="3">
                  <c:v>296.93049999999999</c:v>
                </c:pt>
                <c:pt idx="4">
                  <c:v>331.1146</c:v>
                </c:pt>
                <c:pt idx="5">
                  <c:v>85.872399999999999</c:v>
                </c:pt>
                <c:pt idx="6">
                  <c:v>76.301599999999993</c:v>
                </c:pt>
                <c:pt idx="7">
                  <c:v>541.57370000000003</c:v>
                </c:pt>
              </c:numCache>
            </c:numRef>
          </c:xVal>
          <c:yVal>
            <c:numRef>
              <c:f>Sheet1!$B$2:$B$9</c:f>
              <c:numCache>
                <c:formatCode>General</c:formatCode>
                <c:ptCount val="8"/>
                <c:pt idx="0">
                  <c:v>0.79800000000000004</c:v>
                </c:pt>
                <c:pt idx="1">
                  <c:v>1.1220000000000001</c:v>
                </c:pt>
                <c:pt idx="2">
                  <c:v>3.8940000000000001</c:v>
                </c:pt>
                <c:pt idx="3">
                  <c:v>2.1429999999999998</c:v>
                </c:pt>
                <c:pt idx="4">
                  <c:v>4.2910000000000004</c:v>
                </c:pt>
                <c:pt idx="5">
                  <c:v>0.41099999999999998</c:v>
                </c:pt>
                <c:pt idx="6">
                  <c:v>0.39100000000000001</c:v>
                </c:pt>
                <c:pt idx="7">
                  <c:v>4.423</c:v>
                </c:pt>
              </c:numCache>
            </c:numRef>
          </c:yVal>
          <c:bubbleSize>
            <c:numRef>
              <c:f>Sheet1!$C$2:$C$9</c:f>
              <c:numCache>
                <c:formatCode>General</c:formatCode>
                <c:ptCount val="8"/>
                <c:pt idx="0">
                  <c:v>84822614</c:v>
                </c:pt>
                <c:pt idx="1">
                  <c:v>76668160</c:v>
                </c:pt>
                <c:pt idx="2">
                  <c:v>16648350</c:v>
                </c:pt>
                <c:pt idx="3">
                  <c:v>15380108</c:v>
                </c:pt>
                <c:pt idx="4">
                  <c:v>15057105</c:v>
                </c:pt>
                <c:pt idx="5">
                  <c:v>11366756</c:v>
                </c:pt>
                <c:pt idx="6">
                  <c:v>5048116</c:v>
                </c:pt>
                <c:pt idx="7">
                  <c:v>3846798</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Isdin</c:v>
                  </c:pt>
                  <c:pt idx="3">
                    <c:v>J&amp;J</c:v>
                  </c:pt>
                  <c:pt idx="4">
                    <c:v>L'Oreal</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8133E2-F8AA-4732-96D1-C20423941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B49A9B-1E4D-4777-976C-AB9861087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1BEAB3-C132-453D-A3C7-BDF005847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2C0ADF-642C-40E8-AB16-6B627E225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319EAC-03A5-4626-9234-E381D0347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158BC7-51BD-43DD-AD70-B7C3A2409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2222594-335F-4543-9AF5-A5735515F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B88417F-055E-42DB-8BE9-E205ECED6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07.87860000000001</c:v>
                </c:pt>
                <c:pt idx="1">
                  <c:v>456.20460000000003</c:v>
                </c:pt>
                <c:pt idx="2">
                  <c:v>468.32350000000002</c:v>
                </c:pt>
                <c:pt idx="3">
                  <c:v>512.50450000000001</c:v>
                </c:pt>
                <c:pt idx="4">
                  <c:v>151.001</c:v>
                </c:pt>
                <c:pt idx="5">
                  <c:v>337.02379999999999</c:v>
                </c:pt>
              </c:numCache>
            </c:numRef>
          </c:xVal>
          <c:yVal>
            <c:numRef>
              <c:f>Sheet1!$B$2:$B$7</c:f>
              <c:numCache>
                <c:formatCode>General</c:formatCode>
                <c:ptCount val="6"/>
                <c:pt idx="0">
                  <c:v>1.149</c:v>
                </c:pt>
                <c:pt idx="1">
                  <c:v>1.7549999999999999</c:v>
                </c:pt>
                <c:pt idx="2">
                  <c:v>1.113</c:v>
                </c:pt>
                <c:pt idx="3">
                  <c:v>0.46700000000000003</c:v>
                </c:pt>
                <c:pt idx="4">
                  <c:v>0.71099999999999997</c:v>
                </c:pt>
                <c:pt idx="5">
                  <c:v>7.0460000000000003</c:v>
                </c:pt>
              </c:numCache>
            </c:numRef>
          </c:yVal>
          <c:bubbleSize>
            <c:numRef>
              <c:f>Sheet1!$C$2:$C$7</c:f>
              <c:numCache>
                <c:formatCode>General</c:formatCode>
                <c:ptCount val="6"/>
                <c:pt idx="0">
                  <c:v>1128683</c:v>
                </c:pt>
                <c:pt idx="1">
                  <c:v>697993</c:v>
                </c:pt>
                <c:pt idx="2">
                  <c:v>348901</c:v>
                </c:pt>
                <c:pt idx="3">
                  <c:v>171689</c:v>
                </c:pt>
                <c:pt idx="4">
                  <c:v>154323</c:v>
                </c:pt>
                <c:pt idx="5">
                  <c:v>84930</c:v>
                </c:pt>
              </c:numCache>
            </c:numRef>
          </c:bubbleSize>
          <c:bubble3D val="0"/>
          <c:extLst>
            <c:ext xmlns:c15="http://schemas.microsoft.com/office/drawing/2012/chart" uri="{02D57815-91ED-43cb-92C2-25804820EDAC}">
              <c15:datalabelsRange>
                <c15:f>Sheet1!$E$2:$E$10</c15:f>
                <c15:dlblRangeCache>
                  <c:ptCount val="9"/>
                  <c:pt idx="0">
                    <c:v>L'Oreal</c:v>
                  </c:pt>
                  <c:pt idx="1">
                    <c:v>Pierre Fabre</c:v>
                  </c:pt>
                  <c:pt idx="2">
                    <c:v>Beiersdorf</c:v>
                  </c:pt>
                  <c:pt idx="3">
                    <c:v>Glaxosmithkline</c:v>
                  </c:pt>
                  <c:pt idx="4">
                    <c:v>J&amp;J</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5"/>
          <c:min val="1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2EE625-6A49-4896-ACCC-41CA37062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92F1F5-BBD4-4A1B-83B4-E2D323761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B4569B-DC66-4855-AA1D-621C167D3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E75071-9610-46AA-B87F-C99C0EAAF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2EEDD5F-7479-41A8-BEEF-3646FC9C7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D1E0291-DC99-4806-9965-E35E4779E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FC3A1A-AFEF-4E60-8C1F-A017334F7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A2970FE-CDDB-4811-941E-20E83C895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8.8211</c:v>
                </c:pt>
                <c:pt idx="1">
                  <c:v>249.02600000000001</c:v>
                </c:pt>
                <c:pt idx="2">
                  <c:v>132.23079999999999</c:v>
                </c:pt>
                <c:pt idx="3">
                  <c:v>320.83780000000002</c:v>
                </c:pt>
              </c:numCache>
            </c:numRef>
          </c:xVal>
          <c:yVal>
            <c:numRef>
              <c:f>Sheet1!$B$2:$B$5</c:f>
              <c:numCache>
                <c:formatCode>General</c:formatCode>
                <c:ptCount val="4"/>
                <c:pt idx="0">
                  <c:v>1.0029999999999999</c:v>
                </c:pt>
                <c:pt idx="1">
                  <c:v>1.1499999999999999</c:v>
                </c:pt>
                <c:pt idx="2">
                  <c:v>0.83499999999999996</c:v>
                </c:pt>
                <c:pt idx="3">
                  <c:v>1.2909999999999999</c:v>
                </c:pt>
              </c:numCache>
            </c:numRef>
          </c:yVal>
          <c:bubbleSize>
            <c:numRef>
              <c:f>Sheet1!$C$2:$C$5</c:f>
              <c:numCache>
                <c:formatCode>General</c:formatCode>
                <c:ptCount val="4"/>
                <c:pt idx="0">
                  <c:v>3408674</c:v>
                </c:pt>
                <c:pt idx="1">
                  <c:v>1255340</c:v>
                </c:pt>
                <c:pt idx="2">
                  <c:v>179305</c:v>
                </c:pt>
                <c:pt idx="3">
                  <c:v>59355</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Cerapil De San Luis S.R.I.</c:v>
                  </c:pt>
                  <c:pt idx="3">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5"/>
          <c:min val="1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9265E7-6620-4962-B433-3CE782FFE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6FCBAD-1C33-4450-8650-B9AE714AB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1E61B49-C626-4664-B4E6-D62F4DD3F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20A0C98-882D-4B16-95B0-1415AD4A2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EF8344C-F4F1-41AD-A23F-928678853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C1FDB7C-4B1B-4E57-93D0-47D1912D9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838322-6FAC-4263-B25D-9383D0C26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F4EE2B9-F5BE-46CF-A6F2-822E3DDA9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50.8426</c:v>
                </c:pt>
                <c:pt idx="1">
                  <c:v>116.2015</c:v>
                </c:pt>
              </c:numCache>
            </c:numRef>
          </c:xVal>
          <c:yVal>
            <c:numRef>
              <c:f>Sheet1!$B$2:$B$3</c:f>
              <c:numCache>
                <c:formatCode>General</c:formatCode>
                <c:ptCount val="2"/>
                <c:pt idx="0">
                  <c:v>0.99099999999999999</c:v>
                </c:pt>
                <c:pt idx="1">
                  <c:v>1.042</c:v>
                </c:pt>
              </c:numCache>
            </c:numRef>
          </c:yVal>
          <c:bubbleSize>
            <c:numRef>
              <c:f>Sheet1!$C$2:$C$3</c:f>
              <c:numCache>
                <c:formatCode>General</c:formatCode>
                <c:ptCount val="2"/>
                <c:pt idx="0">
                  <c:v>3018361</c:v>
                </c:pt>
                <c:pt idx="1">
                  <c:v>693026</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1"/>
          <c:min val="9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E6F2CB-6CA6-4C8A-AC32-5E8F1B4DA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A73223-25D3-4867-9ECE-2E1248007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C75487-6C62-4FCB-8462-B197ABE84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DE0FC1-C6E4-4BCA-9263-6A2DAA599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8782C7-5DF9-4C04-8E02-3ACC65C44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B21124-EF86-4DE8-9D45-5E733FA86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B88715-5D2A-4E33-9AFC-43D923FF0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F3C378-9688-4565-9648-63316C4FF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7.96719999999999</c:v>
                </c:pt>
                <c:pt idx="1">
                  <c:v>231.55090000000001</c:v>
                </c:pt>
                <c:pt idx="2">
                  <c:v>295.54790000000003</c:v>
                </c:pt>
                <c:pt idx="3">
                  <c:v>288.79219999999998</c:v>
                </c:pt>
                <c:pt idx="4">
                  <c:v>600.36440000000005</c:v>
                </c:pt>
                <c:pt idx="5">
                  <c:v>80.915999999999997</c:v>
                </c:pt>
              </c:numCache>
            </c:numRef>
          </c:xVal>
          <c:yVal>
            <c:numRef>
              <c:f>Sheet1!$B$2:$B$7</c:f>
              <c:numCache>
                <c:formatCode>General</c:formatCode>
                <c:ptCount val="6"/>
                <c:pt idx="0">
                  <c:v>1.1220000000000001</c:v>
                </c:pt>
                <c:pt idx="1">
                  <c:v>0.82699999999999996</c:v>
                </c:pt>
                <c:pt idx="2">
                  <c:v>2.1309999999999998</c:v>
                </c:pt>
                <c:pt idx="3">
                  <c:v>4.3090000000000002</c:v>
                </c:pt>
                <c:pt idx="4">
                  <c:v>4.4080000000000004</c:v>
                </c:pt>
                <c:pt idx="5">
                  <c:v>0.42199999999999999</c:v>
                </c:pt>
              </c:numCache>
            </c:numRef>
          </c:yVal>
          <c:bubbleSize>
            <c:numRef>
              <c:f>Sheet1!$C$2:$C$7</c:f>
              <c:numCache>
                <c:formatCode>General</c:formatCode>
                <c:ptCount val="6"/>
                <c:pt idx="0">
                  <c:v>71449519</c:v>
                </c:pt>
                <c:pt idx="1">
                  <c:v>63321061</c:v>
                </c:pt>
                <c:pt idx="2">
                  <c:v>9309759</c:v>
                </c:pt>
                <c:pt idx="3">
                  <c:v>9238173</c:v>
                </c:pt>
                <c:pt idx="4">
                  <c:v>5824135</c:v>
                </c:pt>
                <c:pt idx="5">
                  <c:v>550803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L'Oreal</c:v>
                  </c:pt>
                  <c:pt idx="4">
                    <c:v>Isdin</c:v>
                  </c:pt>
                  <c:pt idx="5">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712247-5E3D-4DE8-ABAB-74D799A06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0B0F56-79A4-4F99-92E8-17D4570E6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794429-3E39-4DF8-954F-0E17A2BA3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2DE5F4-E266-4A25-AF40-0F6B11B81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E13BDF-EA43-42CA-9227-FFFA6ED24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89EE22-F2A5-456B-A337-04246402B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0ED3AD-D4B3-480D-A966-ADD32952D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1E5AC1-8F8E-4448-A02B-C64563EDA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99459999999999</c:v>
                </c:pt>
                <c:pt idx="1">
                  <c:v>230.61429999999999</c:v>
                </c:pt>
                <c:pt idx="2">
                  <c:v>474.00580000000002</c:v>
                </c:pt>
                <c:pt idx="3">
                  <c:v>490.36130000000003</c:v>
                </c:pt>
                <c:pt idx="4">
                  <c:v>149.61779999999999</c:v>
                </c:pt>
                <c:pt idx="5">
                  <c:v>430.3</c:v>
                </c:pt>
                <c:pt idx="6">
                  <c:v>509.36840000000001</c:v>
                </c:pt>
                <c:pt idx="7">
                  <c:v>41.262900000000002</c:v>
                </c:pt>
              </c:numCache>
            </c:numRef>
          </c:xVal>
          <c:yVal>
            <c:numRef>
              <c:f>Sheet1!$B$2:$B$9</c:f>
              <c:numCache>
                <c:formatCode>General</c:formatCode>
                <c:ptCount val="8"/>
                <c:pt idx="0">
                  <c:v>0.94599999999999995</c:v>
                </c:pt>
                <c:pt idx="1">
                  <c:v>2.665</c:v>
                </c:pt>
                <c:pt idx="2">
                  <c:v>1.151</c:v>
                </c:pt>
                <c:pt idx="3">
                  <c:v>0</c:v>
                </c:pt>
                <c:pt idx="4">
                  <c:v>2.0009999999999999</c:v>
                </c:pt>
                <c:pt idx="5">
                  <c:v>0</c:v>
                </c:pt>
                <c:pt idx="6">
                  <c:v>0.35299999999999998</c:v>
                </c:pt>
                <c:pt idx="7">
                  <c:v>5.2999999999999999E-2</c:v>
                </c:pt>
              </c:numCache>
            </c:numRef>
          </c:yVal>
          <c:bubbleSize>
            <c:numRef>
              <c:f>Sheet1!$C$2:$C$9</c:f>
              <c:numCache>
                <c:formatCode>General</c:formatCode>
                <c:ptCount val="8"/>
                <c:pt idx="0">
                  <c:v>103599</c:v>
                </c:pt>
                <c:pt idx="1">
                  <c:v>93860</c:v>
                </c:pt>
                <c:pt idx="2">
                  <c:v>81055</c:v>
                </c:pt>
                <c:pt idx="3">
                  <c:v>58353</c:v>
                </c:pt>
                <c:pt idx="4">
                  <c:v>23490</c:v>
                </c:pt>
                <c:pt idx="5">
                  <c:v>12909</c:v>
                </c:pt>
                <c:pt idx="6">
                  <c:v>9678</c:v>
                </c:pt>
                <c:pt idx="7">
                  <c:v>7221</c:v>
                </c:pt>
              </c:numCache>
            </c:numRef>
          </c:bubbleSize>
          <c:bubble3D val="0"/>
          <c:extLst>
            <c:ext xmlns:c15="http://schemas.microsoft.com/office/drawing/2012/chart" uri="{02D57815-91ED-43cb-92C2-25804820EDAC}">
              <c15:datalabelsRange>
                <c15:f>Sheet1!$E$2:$E$10</c15:f>
                <c15:dlblRangeCache>
                  <c:ptCount val="9"/>
                  <c:pt idx="0">
                    <c:v>Glaxosmithkline</c:v>
                  </c:pt>
                  <c:pt idx="1">
                    <c:v>L'Oreal</c:v>
                  </c:pt>
                  <c:pt idx="2">
                    <c:v>Beiersdorf</c:v>
                  </c:pt>
                  <c:pt idx="3">
                    <c:v>Pierre Fabre</c:v>
                  </c:pt>
                  <c:pt idx="4">
                    <c:v>J&amp;J</c:v>
                  </c:pt>
                  <c:pt idx="5">
                    <c:v>Bioderma</c:v>
                  </c:pt>
                  <c:pt idx="6">
                    <c:v>Edgewell</c:v>
                  </c:pt>
                  <c:pt idx="7">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2"/>
          <c:min val="3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143FBC-780D-4438-AECA-F5C51BEE4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B674CB-D046-4CF3-83B3-98E03F1D2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86E657-93AE-4A68-B38C-AE92954E7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484340D-BF3C-49A4-A229-1FD93E479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9BDACA9-5D1E-4086-8D93-EF127FD4D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044A3D3-CFAB-41B1-86F1-63D1C2038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912FD11-5CFE-4EAF-AD47-9AB986920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D36C5D-9ACD-4BA9-91CC-2481FBD30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54.13409999999999</c:v>
                </c:pt>
                <c:pt idx="1">
                  <c:v>250.9359</c:v>
                </c:pt>
                <c:pt idx="2">
                  <c:v>270.09620000000001</c:v>
                </c:pt>
              </c:numCache>
            </c:numRef>
          </c:xVal>
          <c:yVal>
            <c:numRef>
              <c:f>Sheet1!$B$2:$B$4</c:f>
              <c:numCache>
                <c:formatCode>General</c:formatCode>
                <c:ptCount val="3"/>
                <c:pt idx="0">
                  <c:v>0.94299999999999995</c:v>
                </c:pt>
                <c:pt idx="1">
                  <c:v>1.105</c:v>
                </c:pt>
                <c:pt idx="2">
                  <c:v>1.3620000000000001</c:v>
                </c:pt>
              </c:numCache>
            </c:numRef>
          </c:yVal>
          <c:bubbleSize>
            <c:numRef>
              <c:f>Sheet1!$C$2:$C$4</c:f>
              <c:numCache>
                <c:formatCode>General</c:formatCode>
                <c:ptCount val="3"/>
                <c:pt idx="0">
                  <c:v>2118462</c:v>
                </c:pt>
                <c:pt idx="1">
                  <c:v>1323185</c:v>
                </c:pt>
                <c:pt idx="2">
                  <c:v>143151</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20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7A5B3B-F853-4826-A5B2-4B5E6F0EA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B99A97-92B5-4390-99AD-615F89E6E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892176-9173-43EA-B4DE-DEDF0844E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8389627-474F-43E2-882D-63B369A11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DBB467-B186-4589-8551-60C6E2B67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22565E5-DD7E-431B-B73A-D51BE30DF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FAF8CFE-ABC5-4DEB-8755-A1985827D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BFA9FA-586D-4698-B25A-04F016ED4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53.2166</c:v>
                </c:pt>
                <c:pt idx="1">
                  <c:v>112.9348</c:v>
                </c:pt>
                <c:pt idx="2">
                  <c:v>250.0581</c:v>
                </c:pt>
              </c:numCache>
            </c:numRef>
          </c:xVal>
          <c:yVal>
            <c:numRef>
              <c:f>Sheet1!$B$2:$B$4</c:f>
              <c:numCache>
                <c:formatCode>General</c:formatCode>
                <c:ptCount val="3"/>
                <c:pt idx="0">
                  <c:v>0.95199999999999996</c:v>
                </c:pt>
                <c:pt idx="1">
                  <c:v>0.97399999999999998</c:v>
                </c:pt>
                <c:pt idx="2">
                  <c:v>3.0339999999999998</c:v>
                </c:pt>
              </c:numCache>
            </c:numRef>
          </c:yVal>
          <c:bubbleSize>
            <c:numRef>
              <c:f>Sheet1!$C$2:$C$4</c:f>
              <c:numCache>
                <c:formatCode>General</c:formatCode>
                <c:ptCount val="3"/>
                <c:pt idx="0">
                  <c:v>2118833</c:v>
                </c:pt>
                <c:pt idx="1">
                  <c:v>567949</c:v>
                </c:pt>
                <c:pt idx="2">
                  <c:v>38759</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B41B67F-8547-49FF-8E44-29DCDA370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BF52382-BD5A-49F3-8D64-E9AF40D00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9F0331C-5FE0-4D40-B3AF-780A5B2C3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269E4B9-6DB7-4597-B1F2-35F2E36B8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0655428-43AA-4C14-8E72-5408CBC93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D727563-0AE7-4AB7-8CB5-54714C793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DD51151-BC62-4F8F-846C-CC8E9935D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D424E11-4D09-48FF-B4E9-F0A02EA69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3.81180000000001</c:v>
                </c:pt>
                <c:pt idx="1">
                  <c:v>242.9085</c:v>
                </c:pt>
                <c:pt idx="2">
                  <c:v>225.251</c:v>
                </c:pt>
                <c:pt idx="3">
                  <c:v>250.85740000000001</c:v>
                </c:pt>
                <c:pt idx="4">
                  <c:v>134.12180000000001</c:v>
                </c:pt>
              </c:numCache>
            </c:numRef>
          </c:xVal>
          <c:yVal>
            <c:numRef>
              <c:f>Sheet1!$B$2:$B$6</c:f>
              <c:numCache>
                <c:formatCode>General</c:formatCode>
                <c:ptCount val="5"/>
                <c:pt idx="0">
                  <c:v>0.996</c:v>
                </c:pt>
                <c:pt idx="1">
                  <c:v>1.1000000000000001</c:v>
                </c:pt>
                <c:pt idx="2">
                  <c:v>0.85199999999999998</c:v>
                </c:pt>
                <c:pt idx="3">
                  <c:v>1.1339999999999999</c:v>
                </c:pt>
                <c:pt idx="4">
                  <c:v>0.84799999999999998</c:v>
                </c:pt>
              </c:numCache>
            </c:numRef>
          </c:yVal>
          <c:bubbleSize>
            <c:numRef>
              <c:f>Sheet1!$C$2:$C$6</c:f>
              <c:numCache>
                <c:formatCode>General</c:formatCode>
                <c:ptCount val="5"/>
                <c:pt idx="0">
                  <c:v>2355576</c:v>
                </c:pt>
                <c:pt idx="1">
                  <c:v>1290330</c:v>
                </c:pt>
                <c:pt idx="2">
                  <c:v>439690</c:v>
                </c:pt>
                <c:pt idx="3">
                  <c:v>283218</c:v>
                </c:pt>
                <c:pt idx="4">
                  <c:v>93617</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Australian Gold</c:v>
                  </c:pt>
                  <c:pt idx="4">
                    <c:v>Cerapil</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7"/>
          <c:min val="10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0810C3-77BC-4EE3-8B3A-44D1CAEE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E7DF3A-73E0-4CC1-A447-C23E0192A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5A41EC-542A-470B-94F1-9BD8BCB0C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F1FEB5-4FB0-49DD-99A5-E73335D59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4EA989-0C8C-46B8-9C8E-0512CD1D0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36F96C-2F88-4315-B6DD-7BD6260F3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38F573-E9BF-4D2A-A3C2-D28CE76DD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7C5CF7-AB81-4CAF-86F7-7E4F2BA0F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3.18690000000001</c:v>
                </c:pt>
                <c:pt idx="1">
                  <c:v>215.12469999999999</c:v>
                </c:pt>
                <c:pt idx="2">
                  <c:v>576.40459999999996</c:v>
                </c:pt>
                <c:pt idx="3">
                  <c:v>311.16359999999997</c:v>
                </c:pt>
                <c:pt idx="4">
                  <c:v>291.35789999999997</c:v>
                </c:pt>
                <c:pt idx="5">
                  <c:v>87.370999999999995</c:v>
                </c:pt>
                <c:pt idx="6">
                  <c:v>76.912999999999997</c:v>
                </c:pt>
                <c:pt idx="7">
                  <c:v>536.39080000000001</c:v>
                </c:pt>
              </c:numCache>
            </c:numRef>
          </c:xVal>
          <c:yVal>
            <c:numRef>
              <c:f>Sheet1!$B$2:$B$9</c:f>
              <c:numCache>
                <c:formatCode>General</c:formatCode>
                <c:ptCount val="8"/>
                <c:pt idx="0">
                  <c:v>1.073</c:v>
                </c:pt>
                <c:pt idx="1">
                  <c:v>0.73399999999999999</c:v>
                </c:pt>
                <c:pt idx="2">
                  <c:v>3.8879999999999999</c:v>
                </c:pt>
                <c:pt idx="3">
                  <c:v>4.024</c:v>
                </c:pt>
                <c:pt idx="4">
                  <c:v>1.913</c:v>
                </c:pt>
                <c:pt idx="5">
                  <c:v>0.40600000000000003</c:v>
                </c:pt>
                <c:pt idx="6">
                  <c:v>0.36899999999999999</c:v>
                </c:pt>
                <c:pt idx="7">
                  <c:v>4.4320000000000004</c:v>
                </c:pt>
              </c:numCache>
            </c:numRef>
          </c:yVal>
          <c:bubbleSize>
            <c:numRef>
              <c:f>Sheet1!$C$2:$C$9</c:f>
              <c:numCache>
                <c:formatCode>General</c:formatCode>
                <c:ptCount val="8"/>
                <c:pt idx="0">
                  <c:v>500098862</c:v>
                </c:pt>
                <c:pt idx="1">
                  <c:v>421593874</c:v>
                </c:pt>
                <c:pt idx="2">
                  <c:v>105220346</c:v>
                </c:pt>
                <c:pt idx="3">
                  <c:v>102092450</c:v>
                </c:pt>
                <c:pt idx="4">
                  <c:v>101346207</c:v>
                </c:pt>
                <c:pt idx="5">
                  <c:v>48851663</c:v>
                </c:pt>
                <c:pt idx="6">
                  <c:v>25840986</c:v>
                </c:pt>
                <c:pt idx="7">
                  <c:v>21961447</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2"/>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7BB248-9979-4D9F-8341-5F85F6E06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031502-0FEF-4A03-88F0-1C1CE36ED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639A96-EEBE-451D-87A3-4EE9145C9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CB093C-CA6B-4268-B674-60730C759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F18AC6-7643-46AB-8EEB-9F4FCBB32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2B82E14-E29B-4113-8D7F-2F212FC73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CED8D2-4F42-4C94-8554-A17725E06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C0FA3FD-DC85-4B76-8A95-CC86ACB9A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06.07079999999996</c:v>
                </c:pt>
                <c:pt idx="1">
                  <c:v>247.9599</c:v>
                </c:pt>
                <c:pt idx="2">
                  <c:v>459.30149999999998</c:v>
                </c:pt>
                <c:pt idx="3">
                  <c:v>476.96530000000001</c:v>
                </c:pt>
                <c:pt idx="4">
                  <c:v>336.36070000000001</c:v>
                </c:pt>
              </c:numCache>
            </c:numRef>
          </c:xVal>
          <c:yVal>
            <c:numRef>
              <c:f>Sheet1!$B$2:$B$6</c:f>
              <c:numCache>
                <c:formatCode>General</c:formatCode>
                <c:ptCount val="5"/>
                <c:pt idx="0">
                  <c:v>3.089</c:v>
                </c:pt>
                <c:pt idx="1">
                  <c:v>0.58499999999999996</c:v>
                </c:pt>
                <c:pt idx="2">
                  <c:v>2.2429999999999999</c:v>
                </c:pt>
                <c:pt idx="3">
                  <c:v>6.548</c:v>
                </c:pt>
                <c:pt idx="4">
                  <c:v>5.226</c:v>
                </c:pt>
              </c:numCache>
            </c:numRef>
          </c:yVal>
          <c:bubbleSize>
            <c:numRef>
              <c:f>Sheet1!$C$2:$C$6</c:f>
              <c:numCache>
                <c:formatCode>General</c:formatCode>
                <c:ptCount val="5"/>
                <c:pt idx="0">
                  <c:v>2911564</c:v>
                </c:pt>
                <c:pt idx="1">
                  <c:v>1713899</c:v>
                </c:pt>
                <c:pt idx="2">
                  <c:v>953510</c:v>
                </c:pt>
                <c:pt idx="3">
                  <c:v>741204</c:v>
                </c:pt>
                <c:pt idx="4">
                  <c:v>229398</c:v>
                </c:pt>
              </c:numCache>
            </c:numRef>
          </c:bubbleSize>
          <c:bubble3D val="0"/>
          <c:extLst>
            <c:ext xmlns:c15="http://schemas.microsoft.com/office/drawing/2012/chart" uri="{02D57815-91ED-43cb-92C2-25804820EDAC}">
              <c15:datalabelsRange>
                <c15:f>Sheet1!$E$2:$E$10</c15:f>
                <c15:dlblRangeCache>
                  <c:ptCount val="9"/>
                  <c:pt idx="0">
                    <c:v>Isdin</c:v>
                  </c:pt>
                  <c:pt idx="1">
                    <c:v>Edgewell</c:v>
                  </c:pt>
                  <c:pt idx="2">
                    <c:v>Labs. Expanscience</c:v>
                  </c:pt>
                  <c:pt idx="3">
                    <c:v>L'Oreal</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D7DF70-0343-4A89-8A10-4E6686ED1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8C2647-38A1-45D6-B24B-EAFC0671A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5A02AA-5C79-4F77-9F38-986F74D08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649234-F386-43CD-9FCC-02CDFEFB5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3C1E95-921B-46CD-A43D-8BD7A60C8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5A734F-F282-4984-9EA9-5ABD0CF75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4A5BAB4-B21C-422A-ADB9-0360B371A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5C0034-217A-484D-B35E-706784984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6.24130000000002</c:v>
                </c:pt>
                <c:pt idx="1">
                  <c:v>237.99959999999999</c:v>
                </c:pt>
                <c:pt idx="2">
                  <c:v>76.357699999999994</c:v>
                </c:pt>
                <c:pt idx="3">
                  <c:v>77.079300000000003</c:v>
                </c:pt>
                <c:pt idx="4">
                  <c:v>666.42319999999995</c:v>
                </c:pt>
                <c:pt idx="5">
                  <c:v>577.55870000000004</c:v>
                </c:pt>
              </c:numCache>
            </c:numRef>
          </c:xVal>
          <c:yVal>
            <c:numRef>
              <c:f>Sheet1!$B$2:$B$7</c:f>
              <c:numCache>
                <c:formatCode>General</c:formatCode>
                <c:ptCount val="6"/>
                <c:pt idx="0">
                  <c:v>1.2969999999999999</c:v>
                </c:pt>
                <c:pt idx="1">
                  <c:v>1.0649999999999999</c:v>
                </c:pt>
                <c:pt idx="2">
                  <c:v>0.52100000000000002</c:v>
                </c:pt>
                <c:pt idx="3">
                  <c:v>0.54300000000000004</c:v>
                </c:pt>
                <c:pt idx="4">
                  <c:v>3.181</c:v>
                </c:pt>
                <c:pt idx="5">
                  <c:v>2.6150000000000002</c:v>
                </c:pt>
              </c:numCache>
            </c:numRef>
          </c:yVal>
          <c:bubbleSize>
            <c:numRef>
              <c:f>Sheet1!$C$2:$C$7</c:f>
              <c:numCache>
                <c:formatCode>General</c:formatCode>
                <c:ptCount val="6"/>
                <c:pt idx="0">
                  <c:v>62561047</c:v>
                </c:pt>
                <c:pt idx="1">
                  <c:v>40920215</c:v>
                </c:pt>
                <c:pt idx="2">
                  <c:v>13145581</c:v>
                </c:pt>
                <c:pt idx="3">
                  <c:v>7051989</c:v>
                </c:pt>
                <c:pt idx="4">
                  <c:v>2694349</c:v>
                </c:pt>
                <c:pt idx="5">
                  <c:v>181931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pt idx="5">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0"/>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503AE4-F012-48AC-B661-0E5E41518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2841F6-7713-4827-A702-57741AECC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DC3052-995F-47D9-9543-378D87D9C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55A2E2-D7B6-42C9-B20F-EB5FB35FD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416249-0FFA-4077-A342-46E1984A1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5467E7-A855-498A-8614-935329E01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6EF8CF-D9D7-47B4-AC03-9FEB0FBCE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8FE560-77DD-40E4-8E0C-B69800EDA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3.5318</c:v>
                </c:pt>
                <c:pt idx="1">
                  <c:v>204.2766</c:v>
                </c:pt>
                <c:pt idx="2">
                  <c:v>291.04020000000003</c:v>
                </c:pt>
                <c:pt idx="3">
                  <c:v>590.76559999999995</c:v>
                </c:pt>
                <c:pt idx="4">
                  <c:v>272.93700000000001</c:v>
                </c:pt>
                <c:pt idx="5">
                  <c:v>87.442099999999996</c:v>
                </c:pt>
                <c:pt idx="6">
                  <c:v>76.444000000000003</c:v>
                </c:pt>
                <c:pt idx="7">
                  <c:v>329.86529999999999</c:v>
                </c:pt>
              </c:numCache>
            </c:numRef>
          </c:xVal>
          <c:yVal>
            <c:numRef>
              <c:f>Sheet1!$B$2:$B$9</c:f>
              <c:numCache>
                <c:formatCode>General</c:formatCode>
                <c:ptCount val="8"/>
                <c:pt idx="0">
                  <c:v>1.0740000000000001</c:v>
                </c:pt>
                <c:pt idx="1">
                  <c:v>0.71599999999999997</c:v>
                </c:pt>
                <c:pt idx="2">
                  <c:v>1.8939999999999999</c:v>
                </c:pt>
                <c:pt idx="3">
                  <c:v>3.9169999999999998</c:v>
                </c:pt>
                <c:pt idx="4">
                  <c:v>3.718</c:v>
                </c:pt>
                <c:pt idx="5">
                  <c:v>0.39300000000000002</c:v>
                </c:pt>
                <c:pt idx="6">
                  <c:v>0.36199999999999999</c:v>
                </c:pt>
                <c:pt idx="7">
                  <c:v>2.2269999999999999</c:v>
                </c:pt>
              </c:numCache>
            </c:numRef>
          </c:yVal>
          <c:bubbleSize>
            <c:numRef>
              <c:f>Sheet1!$C$2:$C$9</c:f>
              <c:numCache>
                <c:formatCode>General</c:formatCode>
                <c:ptCount val="8"/>
                <c:pt idx="0">
                  <c:v>107220864</c:v>
                </c:pt>
                <c:pt idx="1">
                  <c:v>89234147</c:v>
                </c:pt>
                <c:pt idx="2">
                  <c:v>28036189</c:v>
                </c:pt>
                <c:pt idx="3">
                  <c:v>24994112</c:v>
                </c:pt>
                <c:pt idx="4">
                  <c:v>21977703</c:v>
                </c:pt>
                <c:pt idx="5">
                  <c:v>10334342</c:v>
                </c:pt>
                <c:pt idx="6">
                  <c:v>6507909</c:v>
                </c:pt>
                <c:pt idx="7">
                  <c:v>3474801</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Isdin</c:v>
                  </c:pt>
                  <c:pt idx="4">
                    <c:v>L'Oreal</c:v>
                  </c:pt>
                  <c:pt idx="5">
                    <c:v>Total Care De Mexico</c:v>
                  </c:pt>
                  <c:pt idx="6">
                    <c:v>Inds.Lavin De Mexico</c:v>
                  </c:pt>
                  <c:pt idx="7">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21068D-BA88-4A22-A5B3-19138F194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0307AD-C8D0-428D-94F2-BD1BB0B72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6BD6A2-E220-4B15-B092-43622F634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673336-2599-45BD-B5B9-6F9A6DA82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50CF87-E391-4BF3-9B96-CFCC37A44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569DC0-AC70-41FA-ABE2-CD8D1E38B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69C3FDF-C237-45D7-B6CD-88221DB91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DCC4074-5DFF-4961-B4B7-DA1869AAA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10.5</c:v>
                </c:pt>
                <c:pt idx="1">
                  <c:v>249.9434</c:v>
                </c:pt>
                <c:pt idx="2">
                  <c:v>504.26330000000002</c:v>
                </c:pt>
                <c:pt idx="3">
                  <c:v>542.40380000000005</c:v>
                </c:pt>
                <c:pt idx="4">
                  <c:v>852.34209999999996</c:v>
                </c:pt>
              </c:numCache>
            </c:numRef>
          </c:xVal>
          <c:yVal>
            <c:numRef>
              <c:f>Sheet1!$B$2:$B$6</c:f>
              <c:numCache>
                <c:formatCode>General</c:formatCode>
                <c:ptCount val="5"/>
                <c:pt idx="0">
                  <c:v>4.59</c:v>
                </c:pt>
                <c:pt idx="1">
                  <c:v>0.63100000000000001</c:v>
                </c:pt>
                <c:pt idx="2">
                  <c:v>2.9</c:v>
                </c:pt>
                <c:pt idx="3">
                  <c:v>10.904999999999999</c:v>
                </c:pt>
                <c:pt idx="4">
                  <c:v>0</c:v>
                </c:pt>
              </c:numCache>
            </c:numRef>
          </c:yVal>
          <c:bubbleSize>
            <c:numRef>
              <c:f>Sheet1!$C$2:$C$6</c:f>
              <c:numCache>
                <c:formatCode>General</c:formatCode>
                <c:ptCount val="5"/>
                <c:pt idx="0">
                  <c:v>484737</c:v>
                </c:pt>
                <c:pt idx="1">
                  <c:v>344172</c:v>
                </c:pt>
                <c:pt idx="2">
                  <c:v>237508</c:v>
                </c:pt>
                <c:pt idx="3">
                  <c:v>141025</c:v>
                </c:pt>
                <c:pt idx="4">
                  <c:v>32389</c:v>
                </c:pt>
              </c:numCache>
            </c:numRef>
          </c:bubbleSize>
          <c:bubble3D val="0"/>
          <c:extLst>
            <c:ext xmlns:c15="http://schemas.microsoft.com/office/drawing/2012/chart" uri="{02D57815-91ED-43cb-92C2-25804820EDAC}">
              <c15:datalabelsRange>
                <c15:f>Sheet1!$E$2:$E$10</c15:f>
                <c15:dlblRangeCache>
                  <c:ptCount val="9"/>
                  <c:pt idx="0">
                    <c:v>Isdin</c:v>
                  </c:pt>
                  <c:pt idx="1">
                    <c:v>Edgewell</c:v>
                  </c:pt>
                  <c:pt idx="2">
                    <c:v>Labs. Expanscience</c:v>
                  </c:pt>
                  <c:pt idx="3">
                    <c:v>L'Oreal</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23"/>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2EE01C-6518-4911-8E0E-B3CEA7161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110D34-EB75-4DF4-ADB4-FC24421CA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CC6117-1500-459A-8A5D-17DEEC904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FC8FF5-150F-417C-AD7E-3B2514B59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76BAEE-4068-4D37-A082-413BDBAC1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7D1A89-846B-4451-A79E-8A617591B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280FF12-24A9-48E8-8B44-149A56D54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DEA4F0C-70E6-49D6-9290-B0379DFF2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2.03199999999998</c:v>
                </c:pt>
                <c:pt idx="1">
                  <c:v>235.88980000000001</c:v>
                </c:pt>
                <c:pt idx="2">
                  <c:v>74.983099999999993</c:v>
                </c:pt>
                <c:pt idx="3">
                  <c:v>76.8904</c:v>
                </c:pt>
                <c:pt idx="4">
                  <c:v>741.76530000000002</c:v>
                </c:pt>
                <c:pt idx="5">
                  <c:v>569.50909999999999</c:v>
                </c:pt>
              </c:numCache>
            </c:numRef>
          </c:xVal>
          <c:yVal>
            <c:numRef>
              <c:f>Sheet1!$B$2:$B$7</c:f>
              <c:numCache>
                <c:formatCode>General</c:formatCode>
                <c:ptCount val="6"/>
                <c:pt idx="0">
                  <c:v>1.31</c:v>
                </c:pt>
                <c:pt idx="1">
                  <c:v>1.0740000000000001</c:v>
                </c:pt>
                <c:pt idx="2">
                  <c:v>0.51600000000000001</c:v>
                </c:pt>
                <c:pt idx="3">
                  <c:v>0.55600000000000005</c:v>
                </c:pt>
                <c:pt idx="4">
                  <c:v>4.3949999999999996</c:v>
                </c:pt>
                <c:pt idx="5">
                  <c:v>2.5289999999999999</c:v>
                </c:pt>
              </c:numCache>
            </c:numRef>
          </c:yVal>
          <c:bubbleSize>
            <c:numRef>
              <c:f>Sheet1!$C$2:$C$7</c:f>
              <c:numCache>
                <c:formatCode>General</c:formatCode>
                <c:ptCount val="6"/>
                <c:pt idx="0">
                  <c:v>13290789</c:v>
                </c:pt>
                <c:pt idx="1">
                  <c:v>7435953</c:v>
                </c:pt>
                <c:pt idx="2">
                  <c:v>2686718</c:v>
                </c:pt>
                <c:pt idx="3">
                  <c:v>1677440</c:v>
                </c:pt>
                <c:pt idx="4">
                  <c:v>410938</c:v>
                </c:pt>
                <c:pt idx="5">
                  <c:v>343414</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pt idx="5">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D3982E-7082-4028-AAB1-987C43460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7ECB00-AFE4-4321-B92B-DA9394768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48BC38-21E4-4C33-9CD4-27B04BF44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017BB2-74F4-44B1-B43E-E3680E4C7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12256B-2C86-4492-9F58-67208D317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E7A660-36E0-4353-908F-82E0BB678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636A8B-6D24-4728-8AA6-131583451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322D626-1EA0-419B-AEBB-9574DB088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6.8503</c:v>
                </c:pt>
                <c:pt idx="1">
                  <c:v>196.4014</c:v>
                </c:pt>
                <c:pt idx="2">
                  <c:v>551.78729999999996</c:v>
                </c:pt>
                <c:pt idx="3">
                  <c:v>388.46859999999998</c:v>
                </c:pt>
                <c:pt idx="4">
                  <c:v>293.06799999999998</c:v>
                </c:pt>
                <c:pt idx="5">
                  <c:v>518.84299999999996</c:v>
                </c:pt>
                <c:pt idx="6">
                  <c:v>86.329800000000006</c:v>
                </c:pt>
                <c:pt idx="7">
                  <c:v>504.4169</c:v>
                </c:pt>
              </c:numCache>
            </c:numRef>
          </c:xVal>
          <c:yVal>
            <c:numRef>
              <c:f>Sheet1!$B$2:$B$9</c:f>
              <c:numCache>
                <c:formatCode>General</c:formatCode>
                <c:ptCount val="8"/>
                <c:pt idx="0">
                  <c:v>0.98699999999999999</c:v>
                </c:pt>
                <c:pt idx="1">
                  <c:v>0.57499999999999996</c:v>
                </c:pt>
                <c:pt idx="2">
                  <c:v>3.2410000000000001</c:v>
                </c:pt>
                <c:pt idx="3">
                  <c:v>3.4449999999999998</c:v>
                </c:pt>
                <c:pt idx="4">
                  <c:v>1.5860000000000001</c:v>
                </c:pt>
                <c:pt idx="5">
                  <c:v>3.2989999999999999</c:v>
                </c:pt>
                <c:pt idx="6">
                  <c:v>0.32500000000000001</c:v>
                </c:pt>
                <c:pt idx="7">
                  <c:v>3.855</c:v>
                </c:pt>
              </c:numCache>
            </c:numRef>
          </c:yVal>
          <c:bubbleSize>
            <c:numRef>
              <c:f>Sheet1!$C$2:$C$9</c:f>
              <c:numCache>
                <c:formatCode>General</c:formatCode>
                <c:ptCount val="8"/>
                <c:pt idx="0">
                  <c:v>81000553</c:v>
                </c:pt>
                <c:pt idx="1">
                  <c:v>58894485</c:v>
                </c:pt>
                <c:pt idx="2">
                  <c:v>37358209</c:v>
                </c:pt>
                <c:pt idx="3">
                  <c:v>32737806</c:v>
                </c:pt>
                <c:pt idx="4">
                  <c:v>19334577</c:v>
                </c:pt>
                <c:pt idx="5">
                  <c:v>9894336</c:v>
                </c:pt>
                <c:pt idx="6">
                  <c:v>7526666</c:v>
                </c:pt>
                <c:pt idx="7">
                  <c:v>4421214</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J&amp;J</c:v>
                  </c:pt>
                  <c:pt idx="5">
                    <c:v>Pierre Fabre</c:v>
                  </c:pt>
                  <c:pt idx="6">
                    <c:v>Total Care De Mexico</c:v>
                  </c:pt>
                  <c:pt idx="7">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2"/>
          <c:min val="6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C5978A-20DF-447F-8484-32BA741FD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9AC705-C0C7-421B-B395-19595D928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3F6FA2-B974-413E-8B30-91A2E4994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B601BA-204F-4B52-9F27-3194D6687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BF8DA6-4645-4D26-ADBE-FE6890AFB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763030D-4F8D-4DAB-8F23-88A64D945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8A09AD-2AC4-4A41-81E2-16FB45259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C115D5D-F902-40FC-9C14-3ABC6C7FB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88.75829999999996</c:v>
                </c:pt>
                <c:pt idx="1">
                  <c:v>245.2499</c:v>
                </c:pt>
                <c:pt idx="2">
                  <c:v>430.09399999999999</c:v>
                </c:pt>
                <c:pt idx="3">
                  <c:v>382.25119999999998</c:v>
                </c:pt>
                <c:pt idx="4">
                  <c:v>248.8271</c:v>
                </c:pt>
              </c:numCache>
            </c:numRef>
          </c:xVal>
          <c:yVal>
            <c:numRef>
              <c:f>Sheet1!$B$2:$B$6</c:f>
              <c:numCache>
                <c:formatCode>General</c:formatCode>
                <c:ptCount val="5"/>
                <c:pt idx="0">
                  <c:v>1.9330000000000001</c:v>
                </c:pt>
                <c:pt idx="1">
                  <c:v>0.54800000000000004</c:v>
                </c:pt>
                <c:pt idx="2">
                  <c:v>4.1900000000000004</c:v>
                </c:pt>
                <c:pt idx="3">
                  <c:v>1.159</c:v>
                </c:pt>
                <c:pt idx="4">
                  <c:v>2.8929999999999998</c:v>
                </c:pt>
              </c:numCache>
            </c:numRef>
          </c:yVal>
          <c:bubbleSize>
            <c:numRef>
              <c:f>Sheet1!$C$2:$C$6</c:f>
              <c:numCache>
                <c:formatCode>General</c:formatCode>
                <c:ptCount val="5"/>
                <c:pt idx="0">
                  <c:v>1205777</c:v>
                </c:pt>
                <c:pt idx="1">
                  <c:v>416189</c:v>
                </c:pt>
                <c:pt idx="2">
                  <c:v>288163</c:v>
                </c:pt>
                <c:pt idx="3">
                  <c:v>241965</c:v>
                </c:pt>
                <c:pt idx="4">
                  <c:v>113714</c:v>
                </c:pt>
              </c:numCache>
            </c:numRef>
          </c:bubbleSize>
          <c:bubble3D val="0"/>
          <c:extLst>
            <c:ext xmlns:c15="http://schemas.microsoft.com/office/drawing/2012/chart" uri="{02D57815-91ED-43cb-92C2-25804820EDAC}">
              <c15:datalabelsRange>
                <c15:f>Sheet1!$E$2:$E$10</c15:f>
                <c15:dlblRangeCache>
                  <c:ptCount val="9"/>
                  <c:pt idx="0">
                    <c:v>Isdin</c:v>
                  </c:pt>
                  <c:pt idx="1">
                    <c:v>Edgewell</c:v>
                  </c:pt>
                  <c:pt idx="2">
                    <c:v>L'Oreal</c:v>
                  </c:pt>
                  <c:pt idx="3">
                    <c:v>Labs. Expanscience</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7"/>
          <c:min val="1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249C5F-9754-45B3-986F-00E8802BC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CD0C7A-BA36-4524-BF4A-0E7A95F9E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42F860-6A9F-4A40-9F27-E92B242D9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431040-DB68-418E-9BC5-BAE89DFFD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9BDED2-26D7-4154-B495-061073AAE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0E430A-EC27-47E9-B9D7-B29470BB2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169214-E8AE-4A4C-9A70-D9D56DB1D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546377-55D6-4D18-9A90-1D809A28B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4.03070000000002</c:v>
                </c:pt>
                <c:pt idx="1">
                  <c:v>235.16149999999999</c:v>
                </c:pt>
                <c:pt idx="2">
                  <c:v>73.152199999999993</c:v>
                </c:pt>
                <c:pt idx="3">
                  <c:v>620.44119999999998</c:v>
                </c:pt>
                <c:pt idx="4">
                  <c:v>75.584599999999995</c:v>
                </c:pt>
                <c:pt idx="5">
                  <c:v>565.08249999999998</c:v>
                </c:pt>
                <c:pt idx="6">
                  <c:v>504.72500000000002</c:v>
                </c:pt>
              </c:numCache>
            </c:numRef>
          </c:xVal>
          <c:yVal>
            <c:numRef>
              <c:f>Sheet1!$B$2:$B$8</c:f>
              <c:numCache>
                <c:formatCode>General</c:formatCode>
                <c:ptCount val="7"/>
                <c:pt idx="0">
                  <c:v>1.2869999999999999</c:v>
                </c:pt>
                <c:pt idx="1">
                  <c:v>1.0069999999999999</c:v>
                </c:pt>
                <c:pt idx="2">
                  <c:v>0.497</c:v>
                </c:pt>
                <c:pt idx="3">
                  <c:v>2.5430000000000001</c:v>
                </c:pt>
                <c:pt idx="4">
                  <c:v>0.52600000000000002</c:v>
                </c:pt>
                <c:pt idx="5">
                  <c:v>2.331</c:v>
                </c:pt>
                <c:pt idx="6">
                  <c:v>2.899</c:v>
                </c:pt>
              </c:numCache>
            </c:numRef>
          </c:yVal>
          <c:bubbleSize>
            <c:numRef>
              <c:f>Sheet1!$C$2:$C$8</c:f>
              <c:numCache>
                <c:formatCode>General</c:formatCode>
                <c:ptCount val="7"/>
                <c:pt idx="0">
                  <c:v>8728327</c:v>
                </c:pt>
                <c:pt idx="1">
                  <c:v>6297391</c:v>
                </c:pt>
                <c:pt idx="2">
                  <c:v>1956235</c:v>
                </c:pt>
                <c:pt idx="3">
                  <c:v>1123619</c:v>
                </c:pt>
                <c:pt idx="4">
                  <c:v>925609</c:v>
                </c:pt>
                <c:pt idx="5">
                  <c:v>534003</c:v>
                </c:pt>
                <c:pt idx="6">
                  <c:v>308387</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L'Oreal</c:v>
                  </c:pt>
                  <c:pt idx="4">
                    <c:v>Inds.Lavin De Mexico</c:v>
                  </c:pt>
                  <c:pt idx="5">
                    <c:v>Pierre Fabre</c:v>
                  </c:pt>
                  <c:pt idx="6">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742E13-6CAA-4CF5-8DDF-97F88C9D2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C6B4C4-7178-4FF0-B14D-C1560BD92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3F0B3C-6F3F-4F4D-A42B-5EF66A8D5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ACD7BD-866C-4C9C-8B99-68EA66E9D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32CC2D-8EA1-4DE6-B7E3-F45E93D2C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9FB969-C13A-4670-880A-D460F6A8E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153CA8-78F7-4D1A-BA33-31DF9399B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401355-67BF-4389-8BDB-F7F698864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2655</c:v>
                </c:pt>
                <c:pt idx="1">
                  <c:v>222.97110000000001</c:v>
                </c:pt>
                <c:pt idx="2">
                  <c:v>282.05270000000002</c:v>
                </c:pt>
                <c:pt idx="3">
                  <c:v>231.88329999999999</c:v>
                </c:pt>
                <c:pt idx="4">
                  <c:v>89.0334</c:v>
                </c:pt>
                <c:pt idx="5">
                  <c:v>79.083500000000001</c:v>
                </c:pt>
                <c:pt idx="6">
                  <c:v>602.82489999999996</c:v>
                </c:pt>
              </c:numCache>
            </c:numRef>
          </c:xVal>
          <c:yVal>
            <c:numRef>
              <c:f>Sheet1!$B$2:$B$8</c:f>
              <c:numCache>
                <c:formatCode>General</c:formatCode>
                <c:ptCount val="7"/>
                <c:pt idx="0">
                  <c:v>1.129</c:v>
                </c:pt>
                <c:pt idx="1">
                  <c:v>0.85399999999999998</c:v>
                </c:pt>
                <c:pt idx="2">
                  <c:v>2.0169999999999999</c:v>
                </c:pt>
                <c:pt idx="3">
                  <c:v>4.2210000000000001</c:v>
                </c:pt>
                <c:pt idx="4">
                  <c:v>0.47599999999999998</c:v>
                </c:pt>
                <c:pt idx="5">
                  <c:v>0.437</c:v>
                </c:pt>
                <c:pt idx="6">
                  <c:v>4.6440000000000001</c:v>
                </c:pt>
              </c:numCache>
            </c:numRef>
          </c:yVal>
          <c:bubbleSize>
            <c:numRef>
              <c:f>Sheet1!$C$2:$C$8</c:f>
              <c:numCache>
                <c:formatCode>General</c:formatCode>
                <c:ptCount val="7"/>
                <c:pt idx="0">
                  <c:v>96745711</c:v>
                </c:pt>
                <c:pt idx="1">
                  <c:v>75058525</c:v>
                </c:pt>
                <c:pt idx="2">
                  <c:v>13126731</c:v>
                </c:pt>
                <c:pt idx="3">
                  <c:v>8119627</c:v>
                </c:pt>
                <c:pt idx="4">
                  <c:v>8014963</c:v>
                </c:pt>
                <c:pt idx="5">
                  <c:v>5829322</c:v>
                </c:pt>
                <c:pt idx="6">
                  <c:v>3622375</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L'Oreal</c:v>
                  </c:pt>
                  <c:pt idx="4">
                    <c:v>Total Care De Mexico</c:v>
                  </c:pt>
                  <c:pt idx="5">
                    <c:v>Inds.Lavin De Mexico</c:v>
                  </c:pt>
                  <c:pt idx="6">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3"/>
          <c:min val="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61227D9B-6D26-4C1E-9153-B6E78D8BF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14B516B-D04A-43BF-851E-BC6D984DA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60B3FFA-CD3D-41A9-98A2-18C652429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0766FF7D-5BBB-45BB-A4D5-B334ABC07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29F3F1FA-0EEE-47F6-B328-7ABB3DB8B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2E29A1A2-D333-43C0-94EE-ACEB40FE0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0A2298BD-5073-4B97-9626-2F99AFCD1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31F415F-4685-4CA8-A8D6-622403C0C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8.61539999999999</c:v>
                </c:pt>
                <c:pt idx="1">
                  <c:v>134.07570000000001</c:v>
                </c:pt>
                <c:pt idx="2">
                  <c:v>114.5124</c:v>
                </c:pt>
                <c:pt idx="3">
                  <c:v>233.68879999999999</c:v>
                </c:pt>
                <c:pt idx="4">
                  <c:v>46.746600000000001</c:v>
                </c:pt>
              </c:numCache>
            </c:numRef>
          </c:xVal>
          <c:yVal>
            <c:numRef>
              <c:f>Sheet1!$B$2:$B$6</c:f>
              <c:numCache>
                <c:formatCode>General</c:formatCode>
                <c:ptCount val="5"/>
                <c:pt idx="0">
                  <c:v>1.2569999999999999</c:v>
                </c:pt>
                <c:pt idx="1">
                  <c:v>0.77100000000000002</c:v>
                </c:pt>
                <c:pt idx="2">
                  <c:v>1.0209999999999999</c:v>
                </c:pt>
                <c:pt idx="3">
                  <c:v>2.2269999999999999</c:v>
                </c:pt>
                <c:pt idx="4">
                  <c:v>0.35399999999999998</c:v>
                </c:pt>
              </c:numCache>
            </c:numRef>
          </c:yVal>
          <c:bubbleSize>
            <c:numRef>
              <c:f>Sheet1!$C$2:$C$6</c:f>
              <c:numCache>
                <c:formatCode>General</c:formatCode>
                <c:ptCount val="5"/>
                <c:pt idx="0">
                  <c:v>1243201</c:v>
                </c:pt>
                <c:pt idx="1">
                  <c:v>1106527</c:v>
                </c:pt>
                <c:pt idx="2">
                  <c:v>647453</c:v>
                </c:pt>
                <c:pt idx="3">
                  <c:v>56319</c:v>
                </c:pt>
                <c:pt idx="4">
                  <c:v>44830</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pt idx="4">
                    <c:v>Caribbean Beach</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0"/>
          <c:min val="3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B3DC18-91A2-4272-95C5-8EF56DA51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3A1704-B625-4755-9051-E01ADFC9C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081759-CC5A-4EF0-A39E-6BCA24CD0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4EB6EA-2EDB-454B-9DCF-301A67C01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696909E-AF65-4617-882E-619F2EBEB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3AA43F7-536E-4C2D-8592-790D3DB7F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1B32F7B-F9F4-43E6-9DA2-8A6AEDF2A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080C9E-AEF4-4B7B-8CFE-21BF9CCEA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60.14520000000005</c:v>
                </c:pt>
                <c:pt idx="1">
                  <c:v>276.02409999999998</c:v>
                </c:pt>
                <c:pt idx="2">
                  <c:v>488.16430000000003</c:v>
                </c:pt>
                <c:pt idx="3">
                  <c:v>527.05560000000003</c:v>
                </c:pt>
              </c:numCache>
            </c:numRef>
          </c:xVal>
          <c:yVal>
            <c:numRef>
              <c:f>Sheet1!$B$2:$B$5</c:f>
              <c:numCache>
                <c:formatCode>General</c:formatCode>
                <c:ptCount val="4"/>
                <c:pt idx="0">
                  <c:v>13.773999999999999</c:v>
                </c:pt>
                <c:pt idx="1">
                  <c:v>0.69499999999999995</c:v>
                </c:pt>
                <c:pt idx="2">
                  <c:v>2.734</c:v>
                </c:pt>
                <c:pt idx="3">
                  <c:v>0</c:v>
                </c:pt>
              </c:numCache>
            </c:numRef>
          </c:yVal>
          <c:bubbleSize>
            <c:numRef>
              <c:f>Sheet1!$C$2:$C$5</c:f>
              <c:numCache>
                <c:formatCode>General</c:formatCode>
                <c:ptCount val="4"/>
                <c:pt idx="0">
                  <c:v>163716</c:v>
                </c:pt>
                <c:pt idx="1">
                  <c:v>160370</c:v>
                </c:pt>
                <c:pt idx="2">
                  <c:v>103979</c:v>
                </c:pt>
                <c:pt idx="3">
                  <c:v>9487</c:v>
                </c:pt>
              </c:numCache>
            </c:numRef>
          </c:bubbleSize>
          <c:bubble3D val="0"/>
          <c:extLst>
            <c:ext xmlns:c15="http://schemas.microsoft.com/office/drawing/2012/chart" uri="{02D57815-91ED-43cb-92C2-25804820EDAC}">
              <c15:datalabelsRange>
                <c15:f>Sheet1!$E$2:$E$10</c15:f>
                <c15:dlblRangeCache>
                  <c:ptCount val="9"/>
                  <c:pt idx="0">
                    <c:v>Isdin</c:v>
                  </c:pt>
                  <c:pt idx="1">
                    <c:v>Edgewell</c:v>
                  </c:pt>
                  <c:pt idx="2">
                    <c:v>Labs. Expanscience</c:v>
                  </c:pt>
                  <c:pt idx="3">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92"/>
          <c:min val="2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C381B1-A4AE-4FB5-B836-8DD892570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98B350-9CAF-428F-9EC7-9130D0437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9329C6-49CF-4786-B3EB-DEC20C7FF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143F1A-A1BB-4B67-BDFE-E763D29A4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E4EA6B-88C0-4E40-A182-529D374EE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9B92A53-4E30-44FA-B12D-D1DBE0487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162B348-8032-4C22-BCFE-0356E42CD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BEBD9A4-87C1-4F2B-81D4-6208C0E6D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1.23750000000001</c:v>
                </c:pt>
                <c:pt idx="1">
                  <c:v>215.89599999999999</c:v>
                </c:pt>
                <c:pt idx="2">
                  <c:v>81.741399999999999</c:v>
                </c:pt>
                <c:pt idx="3">
                  <c:v>79.713999999999999</c:v>
                </c:pt>
                <c:pt idx="4">
                  <c:v>310.0258</c:v>
                </c:pt>
              </c:numCache>
            </c:numRef>
          </c:xVal>
          <c:yVal>
            <c:numRef>
              <c:f>Sheet1!$B$2:$B$6</c:f>
              <c:numCache>
                <c:formatCode>General</c:formatCode>
                <c:ptCount val="5"/>
                <c:pt idx="0">
                  <c:v>1.3120000000000001</c:v>
                </c:pt>
                <c:pt idx="1">
                  <c:v>1.034</c:v>
                </c:pt>
                <c:pt idx="2">
                  <c:v>0.53300000000000003</c:v>
                </c:pt>
                <c:pt idx="3">
                  <c:v>0.56299999999999994</c:v>
                </c:pt>
                <c:pt idx="4">
                  <c:v>1.702</c:v>
                </c:pt>
              </c:numCache>
            </c:numRef>
          </c:yVal>
          <c:bubbleSize>
            <c:numRef>
              <c:f>Sheet1!$C$2:$C$6</c:f>
              <c:numCache>
                <c:formatCode>General</c:formatCode>
                <c:ptCount val="5"/>
                <c:pt idx="0">
                  <c:v>12346534</c:v>
                </c:pt>
                <c:pt idx="1">
                  <c:v>6734012</c:v>
                </c:pt>
                <c:pt idx="2">
                  <c:v>2139664</c:v>
                </c:pt>
                <c:pt idx="3">
                  <c:v>1507312</c:v>
                </c:pt>
                <c:pt idx="4">
                  <c:v>288634</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2"/>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7E8ECC-E3A3-4E22-B197-457E0A114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58012E-7305-4E2D-97F6-3943550C6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F900AB-6435-4207-A57B-FC56C393C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CF756D-5461-4623-8E83-5EA88FFCE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2BC602-0E50-4FA9-A721-58C217AA8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C2273F-7D21-4462-814C-B074BF44E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B978C1-A41C-43AE-8609-659CFB262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071B78-F3E0-46CF-8210-01C11E346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87360000000001</c:v>
                </c:pt>
                <c:pt idx="1">
                  <c:v>216.64930000000001</c:v>
                </c:pt>
                <c:pt idx="2">
                  <c:v>589.75840000000005</c:v>
                </c:pt>
                <c:pt idx="3">
                  <c:v>290.10489999999999</c:v>
                </c:pt>
                <c:pt idx="4">
                  <c:v>303.0394</c:v>
                </c:pt>
                <c:pt idx="5">
                  <c:v>87.524900000000002</c:v>
                </c:pt>
                <c:pt idx="6">
                  <c:v>77.076700000000002</c:v>
                </c:pt>
                <c:pt idx="7">
                  <c:v>551.54480000000001</c:v>
                </c:pt>
              </c:numCache>
            </c:numRef>
          </c:xVal>
          <c:yVal>
            <c:numRef>
              <c:f>Sheet1!$B$2:$B$9</c:f>
              <c:numCache>
                <c:formatCode>General</c:formatCode>
                <c:ptCount val="8"/>
                <c:pt idx="0">
                  <c:v>1.0880000000000001</c:v>
                </c:pt>
                <c:pt idx="1">
                  <c:v>0.73599999999999999</c:v>
                </c:pt>
                <c:pt idx="2">
                  <c:v>3.7629999999999999</c:v>
                </c:pt>
                <c:pt idx="3">
                  <c:v>1.915</c:v>
                </c:pt>
                <c:pt idx="4">
                  <c:v>4.133</c:v>
                </c:pt>
                <c:pt idx="5">
                  <c:v>0.434</c:v>
                </c:pt>
                <c:pt idx="6">
                  <c:v>0.377</c:v>
                </c:pt>
                <c:pt idx="7">
                  <c:v>4.8600000000000003</c:v>
                </c:pt>
              </c:numCache>
            </c:numRef>
          </c:yVal>
          <c:bubbleSize>
            <c:numRef>
              <c:f>Sheet1!$C$2:$C$9</c:f>
              <c:numCache>
                <c:formatCode>General</c:formatCode>
                <c:ptCount val="8"/>
                <c:pt idx="0">
                  <c:v>83894579</c:v>
                </c:pt>
                <c:pt idx="1">
                  <c:v>64371935</c:v>
                </c:pt>
                <c:pt idx="2">
                  <c:v>17357178</c:v>
                </c:pt>
                <c:pt idx="3">
                  <c:v>16158843</c:v>
                </c:pt>
                <c:pt idx="4">
                  <c:v>15788654</c:v>
                </c:pt>
                <c:pt idx="5">
                  <c:v>9860026</c:v>
                </c:pt>
                <c:pt idx="6">
                  <c:v>5563627</c:v>
                </c:pt>
                <c:pt idx="7">
                  <c:v>3184068</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J&amp;J</c:v>
                  </c:pt>
                  <c:pt idx="4">
                    <c:v>L'Oreal</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B60B52-3590-4528-832C-B4D4EFC03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E6C2BD-C751-4E7A-AA98-B94264DAE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0F9E4B-6D1E-40F6-9C44-1FD946255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DD750D-1185-4F34-8E00-2B5FC88F3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56C6FD-4C71-48E3-9354-4B56E48E0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C8F1B6A-6650-4F93-A5FC-18F17716C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BAC8F7-106D-4B9D-A146-6E6FFB0908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2BB5E7-07D4-4653-AECC-F74C178D1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21.15620000000001</c:v>
                </c:pt>
                <c:pt idx="1">
                  <c:v>237.2688</c:v>
                </c:pt>
                <c:pt idx="2">
                  <c:v>484.38729999999998</c:v>
                </c:pt>
                <c:pt idx="3">
                  <c:v>494.68939999999998</c:v>
                </c:pt>
                <c:pt idx="4">
                  <c:v>472.32940000000002</c:v>
                </c:pt>
              </c:numCache>
            </c:numRef>
          </c:xVal>
          <c:yVal>
            <c:numRef>
              <c:f>Sheet1!$B$2:$B$6</c:f>
              <c:numCache>
                <c:formatCode>General</c:formatCode>
                <c:ptCount val="5"/>
                <c:pt idx="0">
                  <c:v>3.9140000000000001</c:v>
                </c:pt>
                <c:pt idx="1">
                  <c:v>0.51800000000000002</c:v>
                </c:pt>
                <c:pt idx="2">
                  <c:v>2.883</c:v>
                </c:pt>
                <c:pt idx="3">
                  <c:v>8.9039999999999999</c:v>
                </c:pt>
                <c:pt idx="4">
                  <c:v>17.263999999999999</c:v>
                </c:pt>
              </c:numCache>
            </c:numRef>
          </c:yVal>
          <c:bubbleSize>
            <c:numRef>
              <c:f>Sheet1!$C$2:$C$6</c:f>
              <c:numCache>
                <c:formatCode>General</c:formatCode>
                <c:ptCount val="5"/>
                <c:pt idx="0">
                  <c:v>473321</c:v>
                </c:pt>
                <c:pt idx="1">
                  <c:v>293976</c:v>
                </c:pt>
                <c:pt idx="2">
                  <c:v>167598</c:v>
                </c:pt>
                <c:pt idx="3">
                  <c:v>144944</c:v>
                </c:pt>
                <c:pt idx="4">
                  <c:v>40148</c:v>
                </c:pt>
              </c:numCache>
            </c:numRef>
          </c:bubbleSize>
          <c:bubble3D val="0"/>
          <c:extLst>
            <c:ext xmlns:c15="http://schemas.microsoft.com/office/drawing/2012/chart" uri="{02D57815-91ED-43cb-92C2-25804820EDAC}">
              <c15:datalabelsRange>
                <c15:f>Sheet1!$E$2:$E$10</c15:f>
                <c15:dlblRangeCache>
                  <c:ptCount val="9"/>
                  <c:pt idx="0">
                    <c:v>Isdin</c:v>
                  </c:pt>
                  <c:pt idx="1">
                    <c:v>Edgewell</c:v>
                  </c:pt>
                  <c:pt idx="2">
                    <c:v>Labs. Expanscience</c:v>
                  </c:pt>
                  <c:pt idx="3">
                    <c:v>L'Oreal</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600617-1C8D-43F1-9B32-8B884CB7A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38E76F-8893-47F3-85A3-953AA7081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BCE258-B7C3-496C-86FF-E8A6B826B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308D5A-4437-41AF-9D45-3ECEB9915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032232-D69F-4581-92EF-91E2CE55C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6AB3F7-7E43-4758-A09A-D676965FC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6EB52AC-B11E-4054-8BF3-1DC3C5CCB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3C68647-70E5-40E2-843C-61AC0349C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6.65719999999999</c:v>
                </c:pt>
                <c:pt idx="1">
                  <c:v>238.07259999999999</c:v>
                </c:pt>
                <c:pt idx="2">
                  <c:v>76.464500000000001</c:v>
                </c:pt>
                <c:pt idx="3">
                  <c:v>77.475200000000001</c:v>
                </c:pt>
                <c:pt idx="4">
                  <c:v>685.3827</c:v>
                </c:pt>
                <c:pt idx="5">
                  <c:v>594.69389999999999</c:v>
                </c:pt>
              </c:numCache>
            </c:numRef>
          </c:xVal>
          <c:yVal>
            <c:numRef>
              <c:f>Sheet1!$B$2:$B$7</c:f>
              <c:numCache>
                <c:formatCode>General</c:formatCode>
                <c:ptCount val="6"/>
                <c:pt idx="0">
                  <c:v>1.3029999999999999</c:v>
                </c:pt>
                <c:pt idx="1">
                  <c:v>1.0580000000000001</c:v>
                </c:pt>
                <c:pt idx="2">
                  <c:v>0.54900000000000004</c:v>
                </c:pt>
                <c:pt idx="3">
                  <c:v>0.54700000000000004</c:v>
                </c:pt>
                <c:pt idx="4">
                  <c:v>3.5750000000000002</c:v>
                </c:pt>
                <c:pt idx="5">
                  <c:v>2.7639999999999998</c:v>
                </c:pt>
              </c:numCache>
            </c:numRef>
          </c:yVal>
          <c:bubbleSize>
            <c:numRef>
              <c:f>Sheet1!$C$2:$C$7</c:f>
              <c:numCache>
                <c:formatCode>General</c:formatCode>
                <c:ptCount val="6"/>
                <c:pt idx="0">
                  <c:v>11314989</c:v>
                </c:pt>
                <c:pt idx="1">
                  <c:v>6843158</c:v>
                </c:pt>
                <c:pt idx="2">
                  <c:v>2603844</c:v>
                </c:pt>
                <c:pt idx="3">
                  <c:v>1383165</c:v>
                </c:pt>
                <c:pt idx="4">
                  <c:v>476341</c:v>
                </c:pt>
                <c:pt idx="5">
                  <c:v>34968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pt idx="5">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2"/>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210E01-8AB6-469B-A78F-B82616EC1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E2E77B-A3E6-47B3-9EDA-BF6620D1F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17BA1A-7242-43B5-8C2B-537094AC9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3726E2-AC57-4049-AF66-05C87ECE2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BAE46A-4EA8-442B-AE0A-C5379B7B6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B99B1C-58E7-4F9E-A14B-1AE48D869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5456D79-73D2-4A6B-A1E7-41B4CD49D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0AD873-0E69-4598-9A89-1C96F3166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5.68170000000001</c:v>
                </c:pt>
                <c:pt idx="1">
                  <c:v>256.1234</c:v>
                </c:pt>
                <c:pt idx="2">
                  <c:v>586.88099999999997</c:v>
                </c:pt>
                <c:pt idx="3">
                  <c:v>296.93049999999999</c:v>
                </c:pt>
                <c:pt idx="4">
                  <c:v>323.9126</c:v>
                </c:pt>
                <c:pt idx="5">
                  <c:v>88.231700000000004</c:v>
                </c:pt>
                <c:pt idx="6">
                  <c:v>76.383899999999997</c:v>
                </c:pt>
                <c:pt idx="7">
                  <c:v>536.24929999999995</c:v>
                </c:pt>
              </c:numCache>
            </c:numRef>
          </c:xVal>
          <c:yVal>
            <c:numRef>
              <c:f>Sheet1!$B$2:$B$9</c:f>
              <c:numCache>
                <c:formatCode>General</c:formatCode>
                <c:ptCount val="8"/>
                <c:pt idx="0">
                  <c:v>0.76600000000000001</c:v>
                </c:pt>
                <c:pt idx="1">
                  <c:v>1.105</c:v>
                </c:pt>
                <c:pt idx="2">
                  <c:v>3.7080000000000002</c:v>
                </c:pt>
                <c:pt idx="3">
                  <c:v>2.056</c:v>
                </c:pt>
                <c:pt idx="4">
                  <c:v>4.2389999999999999</c:v>
                </c:pt>
                <c:pt idx="5">
                  <c:v>0.40699999999999997</c:v>
                </c:pt>
                <c:pt idx="6">
                  <c:v>0.376</c:v>
                </c:pt>
                <c:pt idx="7">
                  <c:v>4.8220000000000001</c:v>
                </c:pt>
              </c:numCache>
            </c:numRef>
          </c:yVal>
          <c:bubbleSize>
            <c:numRef>
              <c:f>Sheet1!$C$2:$C$9</c:f>
              <c:numCache>
                <c:formatCode>General</c:formatCode>
                <c:ptCount val="8"/>
                <c:pt idx="0">
                  <c:v>76546041</c:v>
                </c:pt>
                <c:pt idx="1">
                  <c:v>67601968</c:v>
                </c:pt>
                <c:pt idx="2">
                  <c:v>16232541</c:v>
                </c:pt>
                <c:pt idx="3">
                  <c:v>15380108</c:v>
                </c:pt>
                <c:pt idx="4">
                  <c:v>14385284</c:v>
                </c:pt>
                <c:pt idx="5">
                  <c:v>8716760</c:v>
                </c:pt>
                <c:pt idx="6">
                  <c:v>3929875</c:v>
                </c:pt>
                <c:pt idx="7">
                  <c:v>3510288</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Isdin</c:v>
                  </c:pt>
                  <c:pt idx="3">
                    <c:v>J&amp;J</c:v>
                  </c:pt>
                  <c:pt idx="4">
                    <c:v>L'Oreal</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4"/>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E3B815-61ED-43DC-877E-D80465D64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960E07-FFB1-498C-9F96-412D53DA0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EF0771-2B1F-45ED-AC81-C18DBCDEB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488768-FE0F-4DE4-A07B-DF50FCE18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E4BE65-7139-4060-8AD7-BB2C7837A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9D616A-99CA-41A3-9185-1A55CDA62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C97132D-BB27-4A8B-8A95-DEBC49C9D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CE2C33-5FF2-4DEC-A3E4-D5EABC5F9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06.13559999999995</c:v>
                </c:pt>
                <c:pt idx="1">
                  <c:v>237.9161</c:v>
                </c:pt>
                <c:pt idx="2">
                  <c:v>500.07139999999998</c:v>
                </c:pt>
                <c:pt idx="3">
                  <c:v>490.04419999999999</c:v>
                </c:pt>
                <c:pt idx="4">
                  <c:v>368.32260000000002</c:v>
                </c:pt>
              </c:numCache>
            </c:numRef>
          </c:xVal>
          <c:yVal>
            <c:numRef>
              <c:f>Sheet1!$B$2:$B$6</c:f>
              <c:numCache>
                <c:formatCode>General</c:formatCode>
                <c:ptCount val="5"/>
                <c:pt idx="0">
                  <c:v>3.9670000000000001</c:v>
                </c:pt>
                <c:pt idx="1">
                  <c:v>0.55700000000000005</c:v>
                </c:pt>
                <c:pt idx="2">
                  <c:v>3.95</c:v>
                </c:pt>
                <c:pt idx="3">
                  <c:v>6.6929999999999996</c:v>
                </c:pt>
                <c:pt idx="4">
                  <c:v>7.516</c:v>
                </c:pt>
              </c:numCache>
            </c:numRef>
          </c:yVal>
          <c:bubbleSize>
            <c:numRef>
              <c:f>Sheet1!$C$2:$C$6</c:f>
              <c:numCache>
                <c:formatCode>General</c:formatCode>
                <c:ptCount val="5"/>
                <c:pt idx="0">
                  <c:v>415809</c:v>
                </c:pt>
                <c:pt idx="1">
                  <c:v>292161</c:v>
                </c:pt>
                <c:pt idx="2">
                  <c:v>126018</c:v>
                </c:pt>
                <c:pt idx="3">
                  <c:v>122021</c:v>
                </c:pt>
                <c:pt idx="4">
                  <c:v>34254</c:v>
                </c:pt>
              </c:numCache>
            </c:numRef>
          </c:bubbleSize>
          <c:bubble3D val="0"/>
          <c:extLst>
            <c:ext xmlns:c15="http://schemas.microsoft.com/office/drawing/2012/chart" uri="{02D57815-91ED-43cb-92C2-25804820EDAC}">
              <c15:datalabelsRange>
                <c15:f>Sheet1!$E$2:$E$10</c15:f>
                <c15:dlblRangeCache>
                  <c:ptCount val="9"/>
                  <c:pt idx="0">
                    <c:v>Isdin</c:v>
                  </c:pt>
                  <c:pt idx="1">
                    <c:v>Edgewell</c:v>
                  </c:pt>
                  <c:pt idx="2">
                    <c:v>Labs. Expanscience</c:v>
                  </c:pt>
                  <c:pt idx="3">
                    <c:v>L'Oreal</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25417D-F8CC-43E1-84CA-76CBADE13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DB4D0F-90EF-4F0F-918B-DA11C92F2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206C8E-B711-4088-AE2B-B34AB3080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B81D54-9989-4BA7-9AB0-112DC6AD0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7F0B08A-0DAF-4E07-BBED-C1F0B1AFF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B7DE0C6-CCC7-43A4-93F7-078F84C50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C0CA544-92DA-4A92-BC09-BD3040F6C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C8FA5E9-D245-41F0-B6F7-DEA0705EB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4.71409999999997</c:v>
                </c:pt>
                <c:pt idx="1">
                  <c:v>256.25560000000002</c:v>
                </c:pt>
                <c:pt idx="2">
                  <c:v>78.930000000000007</c:v>
                </c:pt>
                <c:pt idx="3">
                  <c:v>76.013900000000007</c:v>
                </c:pt>
                <c:pt idx="4">
                  <c:v>675.43</c:v>
                </c:pt>
                <c:pt idx="5">
                  <c:v>604.1472</c:v>
                </c:pt>
              </c:numCache>
            </c:numRef>
          </c:xVal>
          <c:yVal>
            <c:numRef>
              <c:f>Sheet1!$B$2:$B$7</c:f>
              <c:numCache>
                <c:formatCode>General</c:formatCode>
                <c:ptCount val="6"/>
                <c:pt idx="0">
                  <c:v>1.32</c:v>
                </c:pt>
                <c:pt idx="1">
                  <c:v>1.1220000000000001</c:v>
                </c:pt>
                <c:pt idx="2">
                  <c:v>0.52400000000000002</c:v>
                </c:pt>
                <c:pt idx="3">
                  <c:v>0.54300000000000004</c:v>
                </c:pt>
                <c:pt idx="4">
                  <c:v>3.2</c:v>
                </c:pt>
                <c:pt idx="5">
                  <c:v>2.746</c:v>
                </c:pt>
              </c:numCache>
            </c:numRef>
          </c:yVal>
          <c:bubbleSize>
            <c:numRef>
              <c:f>Sheet1!$C$2:$C$7</c:f>
              <c:numCache>
                <c:formatCode>General</c:formatCode>
                <c:ptCount val="6"/>
                <c:pt idx="0">
                  <c:v>9066192</c:v>
                </c:pt>
                <c:pt idx="1">
                  <c:v>7984412</c:v>
                </c:pt>
                <c:pt idx="2">
                  <c:v>2649996</c:v>
                </c:pt>
                <c:pt idx="3">
                  <c:v>1118241</c:v>
                </c:pt>
                <c:pt idx="4">
                  <c:v>549800</c:v>
                </c:pt>
                <c:pt idx="5">
                  <c:v>33651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pt idx="5">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1"/>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7556A3-C896-47C5-A7EA-E0D330D9A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61A1BB-1C6E-4667-A9C9-B66DF448D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482327-57AB-4029-916F-CC9B03B62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EB8323-0550-4152-B95F-D209823DB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EAE0BE-22B1-46BA-82E5-EC268D1E7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6247C6-7F0F-49FD-B482-4439D398E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C3B1CE-6E0E-4C1D-A2EE-067427278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669E5A8-23ED-4FCB-88E0-E3CCA3FE0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7.33250000000001</c:v>
                </c:pt>
                <c:pt idx="1">
                  <c:v>229.82990000000001</c:v>
                </c:pt>
                <c:pt idx="2">
                  <c:v>295.54790000000003</c:v>
                </c:pt>
                <c:pt idx="3">
                  <c:v>285.87450000000001</c:v>
                </c:pt>
                <c:pt idx="4">
                  <c:v>599.46270000000004</c:v>
                </c:pt>
                <c:pt idx="5">
                  <c:v>84.126800000000003</c:v>
                </c:pt>
              </c:numCache>
            </c:numRef>
          </c:xVal>
          <c:yVal>
            <c:numRef>
              <c:f>Sheet1!$B$2:$B$7</c:f>
              <c:numCache>
                <c:formatCode>General</c:formatCode>
                <c:ptCount val="6"/>
                <c:pt idx="0">
                  <c:v>1.1140000000000001</c:v>
                </c:pt>
                <c:pt idx="1">
                  <c:v>0.80300000000000005</c:v>
                </c:pt>
                <c:pt idx="2">
                  <c:v>2.069</c:v>
                </c:pt>
                <c:pt idx="3">
                  <c:v>4.165</c:v>
                </c:pt>
                <c:pt idx="4">
                  <c:v>4.165</c:v>
                </c:pt>
                <c:pt idx="5">
                  <c:v>0.42399999999999999</c:v>
                </c:pt>
              </c:numCache>
            </c:numRef>
          </c:yVal>
          <c:bubbleSize>
            <c:numRef>
              <c:f>Sheet1!$C$2:$C$7</c:f>
              <c:numCache>
                <c:formatCode>General</c:formatCode>
                <c:ptCount val="6"/>
                <c:pt idx="0">
                  <c:v>63635187</c:v>
                </c:pt>
                <c:pt idx="1">
                  <c:v>57488741</c:v>
                </c:pt>
                <c:pt idx="2">
                  <c:v>9309759</c:v>
                </c:pt>
                <c:pt idx="3">
                  <c:v>9083376</c:v>
                </c:pt>
                <c:pt idx="4">
                  <c:v>5655931</c:v>
                </c:pt>
                <c:pt idx="5">
                  <c:v>4398906</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L'Oreal</c:v>
                  </c:pt>
                  <c:pt idx="4">
                    <c:v>Isdin</c:v>
                  </c:pt>
                  <c:pt idx="5">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9"/>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36E8F9-807B-4FD0-9079-6B1AAB3CE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C62BFF-B6C8-4918-9D7E-E0258DECF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A09D14-68C1-414A-A73B-D29853982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91C19D-6A9B-49A5-B22C-9F4DA18CC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8D8C18-06F3-4DEC-B712-A7FE5B1FA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F8C7446-4B62-4BCB-95B0-8DEAEB540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A58AB2-2BED-47B9-842E-BE07224BE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5B11ED-BE96-45E0-A15A-57BF79C19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2.06459999999998</c:v>
                </c:pt>
                <c:pt idx="1">
                  <c:v>632.34590000000003</c:v>
                </c:pt>
                <c:pt idx="2">
                  <c:v>474.79500000000002</c:v>
                </c:pt>
                <c:pt idx="3">
                  <c:v>555.6875</c:v>
                </c:pt>
                <c:pt idx="4">
                  <c:v>988.11109999999996</c:v>
                </c:pt>
              </c:numCache>
            </c:numRef>
          </c:xVal>
          <c:yVal>
            <c:numRef>
              <c:f>Sheet1!$B$2:$B$6</c:f>
              <c:numCache>
                <c:formatCode>General</c:formatCode>
                <c:ptCount val="5"/>
                <c:pt idx="0">
                  <c:v>0.72099999999999997</c:v>
                </c:pt>
                <c:pt idx="1">
                  <c:v>39.856000000000002</c:v>
                </c:pt>
                <c:pt idx="2">
                  <c:v>6.0380000000000003</c:v>
                </c:pt>
                <c:pt idx="3">
                  <c:v>0</c:v>
                </c:pt>
                <c:pt idx="4">
                  <c:v>0</c:v>
                </c:pt>
              </c:numCache>
            </c:numRef>
          </c:yVal>
          <c:bubbleSize>
            <c:numRef>
              <c:f>Sheet1!$C$2:$C$6</c:f>
              <c:numCache>
                <c:formatCode>General</c:formatCode>
                <c:ptCount val="5"/>
                <c:pt idx="0">
                  <c:v>207031</c:v>
                </c:pt>
                <c:pt idx="1">
                  <c:v>168204</c:v>
                </c:pt>
                <c:pt idx="2">
                  <c:v>76442</c:v>
                </c:pt>
                <c:pt idx="3">
                  <c:v>35564</c:v>
                </c:pt>
                <c:pt idx="4">
                  <c:v>8893</c:v>
                </c:pt>
              </c:numCache>
            </c:numRef>
          </c:bubbleSize>
          <c:bubble3D val="0"/>
          <c:extLst>
            <c:ext xmlns:c15="http://schemas.microsoft.com/office/drawing/2012/chart" uri="{02D57815-91ED-43cb-92C2-25804820EDAC}">
              <c15:datalabelsRange>
                <c15:f>Sheet1!$E$2:$E$10</c15:f>
                <c15:dlblRangeCache>
                  <c:ptCount val="9"/>
                  <c:pt idx="0">
                    <c:v>Edgewell</c:v>
                  </c:pt>
                  <c:pt idx="1">
                    <c:v>Isdin</c:v>
                  </c:pt>
                  <c:pt idx="2">
                    <c:v>Labs. Expanscience</c:v>
                  </c:pt>
                  <c:pt idx="3">
                    <c:v>L'Oreal</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6"/>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425843-B1C3-41F1-BAC9-15A50BC60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7E772C-5F8C-4413-956A-67BB15109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942DD9-FADC-4427-BC26-B29FAA8EA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93554D-BC3E-4739-8ED4-FF4367F04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B18E7D-9C08-4642-BE1A-C74C272AB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8CF882-0821-48C0-B508-29696D085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4B3870-D395-4D10-8908-E9F548D9E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CEC50F-CC52-4E15-8A3D-6AE97196B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6.5461</c:v>
                </c:pt>
                <c:pt idx="1">
                  <c:v>216.7578</c:v>
                </c:pt>
                <c:pt idx="2">
                  <c:v>243.03550000000001</c:v>
                </c:pt>
                <c:pt idx="3">
                  <c:v>587.34699999999998</c:v>
                </c:pt>
                <c:pt idx="4">
                  <c:v>296.93049999999999</c:v>
                </c:pt>
                <c:pt idx="5">
                  <c:v>85.879499999999993</c:v>
                </c:pt>
                <c:pt idx="6">
                  <c:v>577.61429999999996</c:v>
                </c:pt>
                <c:pt idx="7">
                  <c:v>221.1781</c:v>
                </c:pt>
              </c:numCache>
            </c:numRef>
          </c:xVal>
          <c:yVal>
            <c:numRef>
              <c:f>Sheet1!$B$2:$B$9</c:f>
              <c:numCache>
                <c:formatCode>General</c:formatCode>
                <c:ptCount val="8"/>
                <c:pt idx="0">
                  <c:v>1.06</c:v>
                </c:pt>
                <c:pt idx="1">
                  <c:v>0.78</c:v>
                </c:pt>
                <c:pt idx="2">
                  <c:v>0.79100000000000004</c:v>
                </c:pt>
                <c:pt idx="3">
                  <c:v>3.8940000000000001</c:v>
                </c:pt>
                <c:pt idx="4">
                  <c:v>2.1429999999999998</c:v>
                </c:pt>
                <c:pt idx="5">
                  <c:v>0.41099999999999998</c:v>
                </c:pt>
                <c:pt idx="6">
                  <c:v>6.2679999999999998</c:v>
                </c:pt>
                <c:pt idx="7">
                  <c:v>2.706</c:v>
                </c:pt>
              </c:numCache>
            </c:numRef>
          </c:yVal>
          <c:bubbleSize>
            <c:numRef>
              <c:f>Sheet1!$C$2:$C$9</c:f>
              <c:numCache>
                <c:formatCode>General</c:formatCode>
                <c:ptCount val="8"/>
                <c:pt idx="0">
                  <c:v>71214845</c:v>
                </c:pt>
                <c:pt idx="1">
                  <c:v>43615577</c:v>
                </c:pt>
                <c:pt idx="2">
                  <c:v>39255583</c:v>
                </c:pt>
                <c:pt idx="3">
                  <c:v>16648350</c:v>
                </c:pt>
                <c:pt idx="4">
                  <c:v>15380108</c:v>
                </c:pt>
                <c:pt idx="5">
                  <c:v>11365898</c:v>
                </c:pt>
                <c:pt idx="6">
                  <c:v>6503359</c:v>
                </c:pt>
                <c:pt idx="7">
                  <c:v>195145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6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F497A1-FD05-48F3-9521-41B3CEB4D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03B164-0EAA-4BC7-9538-F0A1B6A25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DF0CA7-88AA-4911-A1C2-F2B7A1DE8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DCBB94-6DEA-4D75-8171-399ED65FC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81D12D-EF38-4AA8-AADC-5C222ABAF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DBD397A-0CB3-4294-AA73-9D49B36E4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C85E791-A4C5-4DF8-9A8A-F3B481CFA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616E8C-323A-4EC9-A758-AE91E95AF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3.26429999999999</c:v>
                </c:pt>
                <c:pt idx="1">
                  <c:v>249.58019999999999</c:v>
                </c:pt>
                <c:pt idx="2">
                  <c:v>70.277799999999999</c:v>
                </c:pt>
                <c:pt idx="3">
                  <c:v>73.924800000000005</c:v>
                </c:pt>
              </c:numCache>
            </c:numRef>
          </c:xVal>
          <c:yVal>
            <c:numRef>
              <c:f>Sheet1!$B$2:$B$5</c:f>
              <c:numCache>
                <c:formatCode>General</c:formatCode>
                <c:ptCount val="4"/>
                <c:pt idx="0">
                  <c:v>1.236</c:v>
                </c:pt>
                <c:pt idx="1">
                  <c:v>1.07</c:v>
                </c:pt>
                <c:pt idx="2">
                  <c:v>0.48399999999999999</c:v>
                </c:pt>
                <c:pt idx="3">
                  <c:v>0.50800000000000001</c:v>
                </c:pt>
              </c:numCache>
            </c:numRef>
          </c:yVal>
          <c:bubbleSize>
            <c:numRef>
              <c:f>Sheet1!$C$2:$C$5</c:f>
              <c:numCache>
                <c:formatCode>General</c:formatCode>
                <c:ptCount val="4"/>
                <c:pt idx="0">
                  <c:v>7814216</c:v>
                </c:pt>
                <c:pt idx="1">
                  <c:v>5625289</c:v>
                </c:pt>
                <c:pt idx="2">
                  <c:v>1109124</c:v>
                </c:pt>
                <c:pt idx="3">
                  <c:v>440222</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4"/>
          <c:min val="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7319B1-1F63-4235-B3AC-6E5EBBBED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D81D79-985F-438D-A424-B679BF853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047E26-C01C-4DF8-8DC2-F4B829241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447870-E639-48F3-98FE-4903A6DB6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06E308-0285-4CB3-9E16-0AD0F833F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0CAD82E-42A1-443D-8518-D91EEEF61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C0CE58F-73B4-4712-BB33-8FE63D6C2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A06FB13-B0AA-4A01-B581-14D446465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3.31460000000001</c:v>
                </c:pt>
                <c:pt idx="1">
                  <c:v>213.53030000000001</c:v>
                </c:pt>
                <c:pt idx="2">
                  <c:v>88.991299999999995</c:v>
                </c:pt>
                <c:pt idx="3">
                  <c:v>76.948599999999999</c:v>
                </c:pt>
                <c:pt idx="4">
                  <c:v>192.56129999999999</c:v>
                </c:pt>
              </c:numCache>
            </c:numRef>
          </c:xVal>
          <c:yVal>
            <c:numRef>
              <c:f>Sheet1!$B$2:$B$6</c:f>
              <c:numCache>
                <c:formatCode>General</c:formatCode>
                <c:ptCount val="5"/>
                <c:pt idx="0">
                  <c:v>1.228</c:v>
                </c:pt>
                <c:pt idx="1">
                  <c:v>0.92</c:v>
                </c:pt>
                <c:pt idx="2">
                  <c:v>0.49399999999999999</c:v>
                </c:pt>
                <c:pt idx="3">
                  <c:v>0.45700000000000002</c:v>
                </c:pt>
                <c:pt idx="4">
                  <c:v>3.5990000000000002</c:v>
                </c:pt>
              </c:numCache>
            </c:numRef>
          </c:yVal>
          <c:bubbleSize>
            <c:numRef>
              <c:f>Sheet1!$C$2:$C$6</c:f>
              <c:numCache>
                <c:formatCode>General</c:formatCode>
                <c:ptCount val="5"/>
                <c:pt idx="0">
                  <c:v>523432960</c:v>
                </c:pt>
                <c:pt idx="1">
                  <c:v>333290046</c:v>
                </c:pt>
                <c:pt idx="2">
                  <c:v>45806918</c:v>
                </c:pt>
                <c:pt idx="3">
                  <c:v>32892975</c:v>
                </c:pt>
                <c:pt idx="4">
                  <c:v>30494965</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CA6EA3-3B10-4210-9667-03C0E3D52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47FA62-07D3-4C12-A53F-7E8E8C43E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F7861B-D5E3-4D15-B1AD-78E675BD3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EE47FE-D533-4E36-A941-973701626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90C519-E96E-47BE-B3AD-02E20312E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BA59D22-0E72-4D06-8839-AAEF8E397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D22D8C-8113-481A-A40A-3744A889D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B6B80E-38B7-4B3A-AC49-91BF78E59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7.1653</c:v>
                </c:pt>
                <c:pt idx="1">
                  <c:v>290.39089999999999</c:v>
                </c:pt>
                <c:pt idx="2">
                  <c:v>427.95080000000002</c:v>
                </c:pt>
                <c:pt idx="3">
                  <c:v>575.97080000000005</c:v>
                </c:pt>
                <c:pt idx="4">
                  <c:v>539.33180000000004</c:v>
                </c:pt>
                <c:pt idx="5">
                  <c:v>321.14870000000002</c:v>
                </c:pt>
                <c:pt idx="6">
                  <c:v>535.15009999999995</c:v>
                </c:pt>
                <c:pt idx="7">
                  <c:v>394.04919999999998</c:v>
                </c:pt>
              </c:numCache>
            </c:numRef>
          </c:xVal>
          <c:yVal>
            <c:numRef>
              <c:f>Sheet1!$B$2:$B$9</c:f>
              <c:numCache>
                <c:formatCode>General</c:formatCode>
                <c:ptCount val="8"/>
                <c:pt idx="0">
                  <c:v>1.419</c:v>
                </c:pt>
                <c:pt idx="1">
                  <c:v>0.68799999999999994</c:v>
                </c:pt>
                <c:pt idx="2">
                  <c:v>1.6879999999999999</c:v>
                </c:pt>
                <c:pt idx="3">
                  <c:v>1.708</c:v>
                </c:pt>
                <c:pt idx="4">
                  <c:v>1.4450000000000001</c:v>
                </c:pt>
                <c:pt idx="5">
                  <c:v>0.83499999999999996</c:v>
                </c:pt>
                <c:pt idx="6">
                  <c:v>1.907</c:v>
                </c:pt>
                <c:pt idx="7">
                  <c:v>1.4259999999999999</c:v>
                </c:pt>
              </c:numCache>
            </c:numRef>
          </c:yVal>
          <c:bubbleSize>
            <c:numRef>
              <c:f>Sheet1!$C$2:$C$9</c:f>
              <c:numCache>
                <c:formatCode>General</c:formatCode>
                <c:ptCount val="8"/>
                <c:pt idx="0">
                  <c:v>108131910</c:v>
                </c:pt>
                <c:pt idx="1">
                  <c:v>99186490</c:v>
                </c:pt>
                <c:pt idx="2">
                  <c:v>75033038</c:v>
                </c:pt>
                <c:pt idx="3">
                  <c:v>39227065</c:v>
                </c:pt>
                <c:pt idx="4">
                  <c:v>23780757</c:v>
                </c:pt>
                <c:pt idx="5">
                  <c:v>13026112</c:v>
                </c:pt>
                <c:pt idx="6">
                  <c:v>11742263</c:v>
                </c:pt>
                <c:pt idx="7">
                  <c:v>9210900</c:v>
                </c:pt>
              </c:numCache>
            </c:numRef>
          </c:bubbleSize>
          <c:bubble3D val="0"/>
          <c:extLst>
            <c:ext xmlns:c15="http://schemas.microsoft.com/office/drawing/2012/chart" uri="{02D57815-91ED-43cb-92C2-25804820EDAC}">
              <c15:datalabelsRange>
                <c15:f>Sheet1!$E$2:$E$10</c15:f>
                <c15:dlblRangeCache>
                  <c:ptCount val="9"/>
                  <c:pt idx="0">
                    <c:v>Isdin</c:v>
                  </c:pt>
                  <c:pt idx="1">
                    <c:v>J&amp;J</c:v>
                  </c:pt>
                  <c:pt idx="2">
                    <c:v>L'Oreal</c:v>
                  </c:pt>
                  <c:pt idx="3">
                    <c:v>Beiersdorf</c:v>
                  </c:pt>
                  <c:pt idx="4">
                    <c:v>Pierre Fabre</c:v>
                  </c:pt>
                  <c:pt idx="5">
                    <c:v>Glaxosmithkline</c:v>
                  </c:pt>
                  <c:pt idx="6">
                    <c:v>Bioderma</c:v>
                  </c:pt>
                  <c:pt idx="7">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2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1B9862-6DF7-4B99-B357-78860EF06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B04BF1-1855-4FA9-9064-755093A83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CAC7AFD-B291-46EA-884D-FAA6869C3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E9870A8-47F1-4200-BB17-6B149610C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8DA6B21-B68C-473B-A685-46DA6341C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8DDE50D-6E8A-4C10-84B6-EB57ED4D3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77C9A74-3E55-4758-B653-43355D2F7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6AE3B56-BD24-44F0-9FCF-A8BDDD3BC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26.63229999999999</c:v>
                </c:pt>
                <c:pt idx="1">
                  <c:v>74.764099999999999</c:v>
                </c:pt>
              </c:numCache>
            </c:numRef>
          </c:xVal>
          <c:yVal>
            <c:numRef>
              <c:f>Sheet1!$B$2:$B$3</c:f>
              <c:numCache>
                <c:formatCode>General</c:formatCode>
                <c:ptCount val="2"/>
                <c:pt idx="0">
                  <c:v>1.1100000000000001</c:v>
                </c:pt>
                <c:pt idx="1">
                  <c:v>0.59099999999999997</c:v>
                </c:pt>
              </c:numCache>
            </c:numRef>
          </c:yVal>
          <c:bubbleSize>
            <c:numRef>
              <c:f>Sheet1!$C$2:$C$3</c:f>
              <c:numCache>
                <c:formatCode>General</c:formatCode>
                <c:ptCount val="2"/>
                <c:pt idx="0">
                  <c:v>130937942</c:v>
                </c:pt>
                <c:pt idx="1">
                  <c:v>16190326</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2"/>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14DBAD-8908-4876-BA44-5E561A968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780A2E-1075-4EF6-A92F-3E1EA6014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A5C5FC-CF6E-49E4-AAC8-CCC84B6FC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BDFBCE-1C23-46D7-A1BF-0669523BC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D766E4-4C5B-4796-A353-22A5AE8EF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E7F5C0D-8C3C-458C-B0C2-70317F26C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88C590C-FB8F-4627-9EB2-2CAE7F7C8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364B52F-7F66-4040-95BA-830AA06F7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3.2715</c:v>
                </c:pt>
                <c:pt idx="1">
                  <c:v>205.9563</c:v>
                </c:pt>
                <c:pt idx="2">
                  <c:v>88.932699999999997</c:v>
                </c:pt>
                <c:pt idx="3">
                  <c:v>191.8356</c:v>
                </c:pt>
                <c:pt idx="4">
                  <c:v>76.5351</c:v>
                </c:pt>
              </c:numCache>
            </c:numRef>
          </c:xVal>
          <c:yVal>
            <c:numRef>
              <c:f>Sheet1!$B$2:$B$6</c:f>
              <c:numCache>
                <c:formatCode>General</c:formatCode>
                <c:ptCount val="5"/>
                <c:pt idx="0">
                  <c:v>1.228</c:v>
                </c:pt>
                <c:pt idx="1">
                  <c:v>0.90100000000000002</c:v>
                </c:pt>
                <c:pt idx="2">
                  <c:v>0.48599999999999999</c:v>
                </c:pt>
                <c:pt idx="3">
                  <c:v>3.5350000000000001</c:v>
                </c:pt>
                <c:pt idx="4">
                  <c:v>0.45300000000000001</c:v>
                </c:pt>
              </c:numCache>
            </c:numRef>
          </c:yVal>
          <c:bubbleSize>
            <c:numRef>
              <c:f>Sheet1!$C$2:$C$6</c:f>
              <c:numCache>
                <c:formatCode>General</c:formatCode>
                <c:ptCount val="5"/>
                <c:pt idx="0">
                  <c:v>111274571</c:v>
                </c:pt>
                <c:pt idx="1">
                  <c:v>71889468</c:v>
                </c:pt>
                <c:pt idx="2">
                  <c:v>9310814</c:v>
                </c:pt>
                <c:pt idx="3">
                  <c:v>8790097</c:v>
                </c:pt>
                <c:pt idx="4">
                  <c:v>8185349</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L'Oreal</c:v>
                  </c:pt>
                  <c:pt idx="4">
                    <c:v>Inds.Lavin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65C9B4-D378-42E3-B856-281384480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8B33D9-A820-4690-A49F-512B53CB1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D2317E-DB19-439A-9CC5-EF75B4047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E744DB-6028-4ED5-A349-775DF8013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A04C75-993F-4B55-ABD1-CA3312948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32FE25-F018-478E-ACB8-1D48341F4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32D830-49D4-4122-B35D-63F861260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8F9F90-9896-4319-B279-CB4B5D201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9.72550000000001</c:v>
                </c:pt>
                <c:pt idx="1">
                  <c:v>591.12919999999997</c:v>
                </c:pt>
                <c:pt idx="2">
                  <c:v>386.85579999999999</c:v>
                </c:pt>
                <c:pt idx="3">
                  <c:v>569.41700000000003</c:v>
                </c:pt>
                <c:pt idx="4">
                  <c:v>556.02909999999997</c:v>
                </c:pt>
                <c:pt idx="5">
                  <c:v>326.05040000000002</c:v>
                </c:pt>
                <c:pt idx="6">
                  <c:v>385.44869999999997</c:v>
                </c:pt>
                <c:pt idx="7">
                  <c:v>591.68880000000001</c:v>
                </c:pt>
              </c:numCache>
            </c:numRef>
          </c:xVal>
          <c:yVal>
            <c:numRef>
              <c:f>Sheet1!$B$2:$B$9</c:f>
              <c:numCache>
                <c:formatCode>General</c:formatCode>
                <c:ptCount val="8"/>
                <c:pt idx="0">
                  <c:v>0.71199999999999997</c:v>
                </c:pt>
                <c:pt idx="1">
                  <c:v>1.508</c:v>
                </c:pt>
                <c:pt idx="2">
                  <c:v>1.782</c:v>
                </c:pt>
                <c:pt idx="3">
                  <c:v>1.7490000000000001</c:v>
                </c:pt>
                <c:pt idx="4">
                  <c:v>1.4870000000000001</c:v>
                </c:pt>
                <c:pt idx="5">
                  <c:v>0.85899999999999999</c:v>
                </c:pt>
                <c:pt idx="6">
                  <c:v>1.347</c:v>
                </c:pt>
                <c:pt idx="7">
                  <c:v>2.2000000000000002</c:v>
                </c:pt>
              </c:numCache>
            </c:numRef>
          </c:yVal>
          <c:bubbleSize>
            <c:numRef>
              <c:f>Sheet1!$C$2:$C$9</c:f>
              <c:numCache>
                <c:formatCode>General</c:formatCode>
                <c:ptCount val="8"/>
                <c:pt idx="0">
                  <c:v>27304308</c:v>
                </c:pt>
                <c:pt idx="1">
                  <c:v>25478849</c:v>
                </c:pt>
                <c:pt idx="2">
                  <c:v>13739569</c:v>
                </c:pt>
                <c:pt idx="3">
                  <c:v>9237082</c:v>
                </c:pt>
                <c:pt idx="4">
                  <c:v>3778774</c:v>
                </c:pt>
                <c:pt idx="5">
                  <c:v>3575795</c:v>
                </c:pt>
                <c:pt idx="6">
                  <c:v>2497322</c:v>
                </c:pt>
                <c:pt idx="7">
                  <c:v>1840744</c:v>
                </c:pt>
              </c:numCache>
            </c:numRef>
          </c:bubbleSize>
          <c:bubble3D val="0"/>
          <c:extLst>
            <c:ext xmlns:c15="http://schemas.microsoft.com/office/drawing/2012/chart" uri="{02D57815-91ED-43cb-92C2-25804820EDAC}">
              <c15:datalabelsRange>
                <c15:f>Sheet1!$E$2:$E$10</c15:f>
                <c15:dlblRangeCache>
                  <c:ptCount val="9"/>
                  <c:pt idx="0">
                    <c:v>J&amp;J</c:v>
                  </c:pt>
                  <c:pt idx="1">
                    <c:v>Isdin</c:v>
                  </c:pt>
                  <c:pt idx="2">
                    <c:v>L'Oreal</c:v>
                  </c:pt>
                  <c:pt idx="3">
                    <c:v>Beiersdorf</c:v>
                  </c:pt>
                  <c:pt idx="4">
                    <c:v>Pierre Fabre</c:v>
                  </c:pt>
                  <c:pt idx="5">
                    <c:v>Glaxosmithkline</c:v>
                  </c:pt>
                  <c:pt idx="6">
                    <c:v>Galderma</c:v>
                  </c:pt>
                  <c:pt idx="7">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
          <c:min val="2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F50F83-2878-4FCF-B560-8E6104C4F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5CE4B3-D2C7-4588-9CA7-9541810C1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C9D5BBB-0287-4351-81F4-F29FE79E4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F416BEE-A226-4451-B315-B1D700738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35736B-168E-4920-822A-1B3BC5C1F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78D7252-59EA-4CB0-BAF1-8873C1DEF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86BABFB-523A-48C6-8B1F-F23097E79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C66C51-8093-46D5-9921-2E0761006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8.19710000000001</c:v>
                </c:pt>
                <c:pt idx="1">
                  <c:v>75.226500000000001</c:v>
                </c:pt>
              </c:numCache>
            </c:numRef>
          </c:xVal>
          <c:yVal>
            <c:numRef>
              <c:f>Sheet1!$B$2:$B$3</c:f>
              <c:numCache>
                <c:formatCode>General</c:formatCode>
                <c:ptCount val="2"/>
                <c:pt idx="0">
                  <c:v>1.1339999999999999</c:v>
                </c:pt>
                <c:pt idx="1">
                  <c:v>0.57999999999999996</c:v>
                </c:pt>
              </c:numCache>
            </c:numRef>
          </c:yVal>
          <c:bubbleSize>
            <c:numRef>
              <c:f>Sheet1!$C$2:$C$3</c:f>
              <c:numCache>
                <c:formatCode>General</c:formatCode>
                <c:ptCount val="2"/>
                <c:pt idx="0">
                  <c:v>25124804</c:v>
                </c:pt>
                <c:pt idx="1">
                  <c:v>3710246</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EBD7E2-7BFE-4F09-B449-C6336880A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A220FC-9F6F-4964-AD64-55C35E2C3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D49D83-CF7A-407F-A465-F680A0A84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D9888D-4660-4FF6-BDF1-7E6229832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D04451-6A07-4A41-9059-7C48CD517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3304E19-498C-485C-9EBD-9480DAFD2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6082501-A205-4B5C-9072-4B8721D69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B5B94D-C668-4B71-8620-CC68192F8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4.6602</c:v>
                </c:pt>
                <c:pt idx="1">
                  <c:v>196.9057</c:v>
                </c:pt>
                <c:pt idx="2">
                  <c:v>87.207499999999996</c:v>
                </c:pt>
                <c:pt idx="3">
                  <c:v>191.19630000000001</c:v>
                </c:pt>
                <c:pt idx="4">
                  <c:v>75.475399999999993</c:v>
                </c:pt>
              </c:numCache>
            </c:numRef>
          </c:xVal>
          <c:yVal>
            <c:numRef>
              <c:f>Sheet1!$B$2:$B$6</c:f>
              <c:numCache>
                <c:formatCode>General</c:formatCode>
                <c:ptCount val="5"/>
                <c:pt idx="0">
                  <c:v>1.2749999999999999</c:v>
                </c:pt>
                <c:pt idx="1">
                  <c:v>0.88200000000000001</c:v>
                </c:pt>
                <c:pt idx="2">
                  <c:v>0.47699999999999998</c:v>
                </c:pt>
                <c:pt idx="3">
                  <c:v>3.4670000000000001</c:v>
                </c:pt>
                <c:pt idx="4">
                  <c:v>0.44600000000000001</c:v>
                </c:pt>
              </c:numCache>
            </c:numRef>
          </c:yVal>
          <c:bubbleSize>
            <c:numRef>
              <c:f>Sheet1!$C$2:$C$6</c:f>
              <c:numCache>
                <c:formatCode>General</c:formatCode>
                <c:ptCount val="5"/>
                <c:pt idx="0">
                  <c:v>76877378</c:v>
                </c:pt>
                <c:pt idx="1">
                  <c:v>48526809</c:v>
                </c:pt>
                <c:pt idx="2">
                  <c:v>7108983</c:v>
                </c:pt>
                <c:pt idx="3">
                  <c:v>5365733</c:v>
                </c:pt>
                <c:pt idx="4">
                  <c:v>3693466</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L'Oreal</c:v>
                  </c:pt>
                  <c:pt idx="4">
                    <c:v>Inds.Lavin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4"/>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998137-9D01-4E71-8F73-3106BE43B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F39448-1571-417B-94D1-36A368073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9A9C95-8962-4F50-9160-BB3C5DD8F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E4EDC1-201E-4302-9D21-5ABB8AFF2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783FB5-0403-455F-BC99-801771C0C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B4891D-5E66-4269-87D6-9E618D170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6B29BB-E382-43FB-A4B6-2E325CC2D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A9DE7D-9390-46B6-AF57-AD009834F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2.87279999999998</c:v>
                </c:pt>
                <c:pt idx="1">
                  <c:v>490.43049999999999</c:v>
                </c:pt>
                <c:pt idx="2">
                  <c:v>292.4042</c:v>
                </c:pt>
                <c:pt idx="3">
                  <c:v>574.2405</c:v>
                </c:pt>
                <c:pt idx="4">
                  <c:v>521.02620000000002</c:v>
                </c:pt>
                <c:pt idx="5">
                  <c:v>493.8476</c:v>
                </c:pt>
                <c:pt idx="6">
                  <c:v>402.11619999999999</c:v>
                </c:pt>
                <c:pt idx="7">
                  <c:v>321.73930000000001</c:v>
                </c:pt>
              </c:numCache>
            </c:numRef>
          </c:xVal>
          <c:yVal>
            <c:numRef>
              <c:f>Sheet1!$B$2:$B$9</c:f>
              <c:numCache>
                <c:formatCode>General</c:formatCode>
                <c:ptCount val="8"/>
                <c:pt idx="0">
                  <c:v>1.2110000000000001</c:v>
                </c:pt>
                <c:pt idx="1">
                  <c:v>1.359</c:v>
                </c:pt>
                <c:pt idx="2">
                  <c:v>0.59499999999999997</c:v>
                </c:pt>
                <c:pt idx="3">
                  <c:v>1.413</c:v>
                </c:pt>
                <c:pt idx="4">
                  <c:v>1.1579999999999999</c:v>
                </c:pt>
                <c:pt idx="5">
                  <c:v>1.44</c:v>
                </c:pt>
                <c:pt idx="6">
                  <c:v>1.133</c:v>
                </c:pt>
                <c:pt idx="7">
                  <c:v>0.71099999999999997</c:v>
                </c:pt>
              </c:numCache>
            </c:numRef>
          </c:yVal>
          <c:bubbleSize>
            <c:numRef>
              <c:f>Sheet1!$C$2:$C$9</c:f>
              <c:numCache>
                <c:formatCode>General</c:formatCode>
                <c:ptCount val="8"/>
                <c:pt idx="0">
                  <c:v>38563986</c:v>
                </c:pt>
                <c:pt idx="1">
                  <c:v>28783855</c:v>
                </c:pt>
                <c:pt idx="2">
                  <c:v>19050720</c:v>
                </c:pt>
                <c:pt idx="3">
                  <c:v>12851502</c:v>
                </c:pt>
                <c:pt idx="4">
                  <c:v>10428339</c:v>
                </c:pt>
                <c:pt idx="5">
                  <c:v>4599203</c:v>
                </c:pt>
                <c:pt idx="6">
                  <c:v>2910115</c:v>
                </c:pt>
                <c:pt idx="7">
                  <c:v>2173027</c:v>
                </c:pt>
              </c:numCache>
            </c:numRef>
          </c:bubbleSize>
          <c:bubble3D val="0"/>
          <c:extLst>
            <c:ext xmlns:c15="http://schemas.microsoft.com/office/drawing/2012/chart" uri="{02D57815-91ED-43cb-92C2-25804820EDAC}">
              <c15:datalabelsRange>
                <c15:f>Sheet1!$E$2:$E$10</c15:f>
                <c15:dlblRangeCache>
                  <c:ptCount val="9"/>
                  <c:pt idx="0">
                    <c:v>Isdin</c:v>
                  </c:pt>
                  <c:pt idx="1">
                    <c:v>L'Oreal</c:v>
                  </c:pt>
                  <c:pt idx="2">
                    <c:v>J&amp;J</c:v>
                  </c:pt>
                  <c:pt idx="3">
                    <c:v>Beiersdorf</c:v>
                  </c:pt>
                  <c:pt idx="4">
                    <c:v>Pierre Fabre</c:v>
                  </c:pt>
                  <c:pt idx="5">
                    <c:v>Bioderma</c:v>
                  </c:pt>
                  <c:pt idx="6">
                    <c:v>Galderma</c:v>
                  </c:pt>
                  <c:pt idx="7">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9"/>
          <c:min val="23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BFA779-9021-4CE2-9520-FE9CE88C4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62C35D-ECA1-4812-810F-7CBCDACC2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73E8618-C037-4083-A01E-FC02D11FD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005C0FB-1134-48D3-91E6-E57B31F77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EE49C2-39A9-46AB-AB9F-E0AC37849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0BB30A-35D5-4DF9-A139-F2BA04F26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193616-CE5E-45CB-8EE7-4BB96E990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DA6D3F-8495-4075-A705-B008C8F2A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8.57</c:v>
                </c:pt>
                <c:pt idx="1">
                  <c:v>73.248699999999999</c:v>
                </c:pt>
              </c:numCache>
            </c:numRef>
          </c:xVal>
          <c:yVal>
            <c:numRef>
              <c:f>Sheet1!$B$2:$B$3</c:f>
              <c:numCache>
                <c:formatCode>General</c:formatCode>
                <c:ptCount val="2"/>
                <c:pt idx="0">
                  <c:v>1.1100000000000001</c:v>
                </c:pt>
                <c:pt idx="1">
                  <c:v>0.627</c:v>
                </c:pt>
              </c:numCache>
            </c:numRef>
          </c:yVal>
          <c:bubbleSize>
            <c:numRef>
              <c:f>Sheet1!$C$2:$C$3</c:f>
              <c:numCache>
                <c:formatCode>General</c:formatCode>
                <c:ptCount val="2"/>
                <c:pt idx="0">
                  <c:v>17081256</c:v>
                </c:pt>
                <c:pt idx="1">
                  <c:v>2373918</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6040F03-7B23-4DA4-977F-84F77AF66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C956520-592D-4ECA-A9DF-4CF76C6B3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93B0E8B-39C0-46A5-934D-9330807CF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2A16FE1-9FA2-4FE4-831A-1228F898E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7E7C47B-321B-4C77-8882-718FDF0AD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7974E99-235B-4CA0-B462-D41CB07D8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2957EF1-B5E8-41C4-8C6F-1200FDCF7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2B9864B-7DA3-4D68-8309-2A857F100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12.9966</c:v>
                </c:pt>
                <c:pt idx="1">
                  <c:v>456.20460000000003</c:v>
                </c:pt>
                <c:pt idx="2">
                  <c:v>468.70490000000001</c:v>
                </c:pt>
                <c:pt idx="3">
                  <c:v>369.41070000000002</c:v>
                </c:pt>
                <c:pt idx="4">
                  <c:v>512.50450000000001</c:v>
                </c:pt>
                <c:pt idx="5">
                  <c:v>151.001</c:v>
                </c:pt>
                <c:pt idx="6">
                  <c:v>337.02379999999999</c:v>
                </c:pt>
                <c:pt idx="7">
                  <c:v>63</c:v>
                </c:pt>
              </c:numCache>
            </c:numRef>
          </c:xVal>
          <c:yVal>
            <c:numRef>
              <c:f>Sheet1!$B$2:$B$9</c:f>
              <c:numCache>
                <c:formatCode>General</c:formatCode>
                <c:ptCount val="8"/>
                <c:pt idx="0">
                  <c:v>2.093</c:v>
                </c:pt>
                <c:pt idx="1">
                  <c:v>1.7549999999999999</c:v>
                </c:pt>
                <c:pt idx="2">
                  <c:v>1.1859999999999999</c:v>
                </c:pt>
                <c:pt idx="3">
                  <c:v>0.61199999999999999</c:v>
                </c:pt>
                <c:pt idx="4">
                  <c:v>0.46700000000000003</c:v>
                </c:pt>
                <c:pt idx="5">
                  <c:v>0.71099999999999997</c:v>
                </c:pt>
                <c:pt idx="6">
                  <c:v>7.0460000000000003</c:v>
                </c:pt>
                <c:pt idx="7">
                  <c:v>0</c:v>
                </c:pt>
              </c:numCache>
            </c:numRef>
          </c:yVal>
          <c:bubbleSize>
            <c:numRef>
              <c:f>Sheet1!$C$2:$C$9</c:f>
              <c:numCache>
                <c:formatCode>General</c:formatCode>
                <c:ptCount val="8"/>
                <c:pt idx="0">
                  <c:v>731473</c:v>
                </c:pt>
                <c:pt idx="1">
                  <c:v>697993</c:v>
                </c:pt>
                <c:pt idx="2">
                  <c:v>343092</c:v>
                </c:pt>
                <c:pt idx="3">
                  <c:v>324712</c:v>
                </c:pt>
                <c:pt idx="4">
                  <c:v>171689</c:v>
                </c:pt>
                <c:pt idx="5">
                  <c:v>154323</c:v>
                </c:pt>
                <c:pt idx="6">
                  <c:v>84930</c:v>
                </c:pt>
                <c:pt idx="7">
                  <c:v>63</c:v>
                </c:pt>
              </c:numCache>
            </c:numRef>
          </c:bubbleSize>
          <c:bubble3D val="0"/>
          <c:extLst>
            <c:ext xmlns:c15="http://schemas.microsoft.com/office/drawing/2012/chart" uri="{02D57815-91ED-43cb-92C2-25804820EDAC}">
              <c15:datalabelsRange>
                <c15:f>Sheet1!$E$2:$E$10</c15:f>
                <c15:dlblRangeCache>
                  <c:ptCount val="9"/>
                  <c:pt idx="0">
                    <c:v>La Roche-Posay</c:v>
                  </c:pt>
                  <c:pt idx="1">
                    <c:v>Avene</c:v>
                  </c:pt>
                  <c:pt idx="2">
                    <c:v>Eucerin</c:v>
                  </c:pt>
                  <c:pt idx="3">
                    <c:v>Vichy</c:v>
                  </c:pt>
                  <c:pt idx="4">
                    <c:v>Eclipsol</c:v>
                  </c:pt>
                  <c:pt idx="5">
                    <c:v>Neutrogena</c:v>
                  </c:pt>
                  <c:pt idx="6">
                    <c:v>Photoderm</c:v>
                  </c:pt>
                  <c:pt idx="7">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5"/>
          <c:min val="5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E01C62-5F02-4A07-8D68-C58D0269F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CA04DC-1AEF-4282-A842-3166C9A67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8D1A89-AFE4-4045-92E9-04A33C09A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EA70F2-B9E5-4013-9E34-4A1927C5B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5007BD-4B8A-410F-8A2E-C427B2D4F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75C19AF-8C6E-4030-8404-CA1954174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05293B-2A66-4C80-BB38-8B5BB29AF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2C285B-1A33-4D70-A1F6-C40B76786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2.1934</c:v>
                </c:pt>
                <c:pt idx="1">
                  <c:v>218.29329999999999</c:v>
                </c:pt>
                <c:pt idx="2">
                  <c:v>91.449200000000005</c:v>
                </c:pt>
                <c:pt idx="3">
                  <c:v>79.212199999999996</c:v>
                </c:pt>
                <c:pt idx="4">
                  <c:v>198.39879999999999</c:v>
                </c:pt>
              </c:numCache>
            </c:numRef>
          </c:xVal>
          <c:yVal>
            <c:numRef>
              <c:f>Sheet1!$B$2:$B$6</c:f>
              <c:numCache>
                <c:formatCode>General</c:formatCode>
                <c:ptCount val="5"/>
                <c:pt idx="0">
                  <c:v>1.1859999999999999</c:v>
                </c:pt>
                <c:pt idx="1">
                  <c:v>0.93700000000000006</c:v>
                </c:pt>
                <c:pt idx="2">
                  <c:v>0.496</c:v>
                </c:pt>
                <c:pt idx="3">
                  <c:v>0.47099999999999997</c:v>
                </c:pt>
                <c:pt idx="4">
                  <c:v>3.87</c:v>
                </c:pt>
              </c:numCache>
            </c:numRef>
          </c:yVal>
          <c:bubbleSize>
            <c:numRef>
              <c:f>Sheet1!$C$2:$C$6</c:f>
              <c:numCache>
                <c:formatCode>General</c:formatCode>
                <c:ptCount val="5"/>
                <c:pt idx="0">
                  <c:v>106919192</c:v>
                </c:pt>
                <c:pt idx="1">
                  <c:v>56697971</c:v>
                </c:pt>
                <c:pt idx="2">
                  <c:v>7573729</c:v>
                </c:pt>
                <c:pt idx="3">
                  <c:v>7336634</c:v>
                </c:pt>
                <c:pt idx="4">
                  <c:v>4351877</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1FF48D-758E-46A1-98A5-B883DF76B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775782-40F9-45AF-8F85-11AF1CA58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7DC014-CDF0-4D9D-B354-FD9135291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8D0EB4-4635-424B-8E93-FA2DF26EF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34A2D2-C64E-44A1-A13B-65649EF03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C926FB-08E2-4284-A2C5-6756818A5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DC739C-20BC-4431-947F-8259C4089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F5AA1D-BA81-4970-A21A-D46C117B6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80.85379999999998</c:v>
                </c:pt>
                <c:pt idx="1">
                  <c:v>289.06420000000003</c:v>
                </c:pt>
                <c:pt idx="2">
                  <c:v>605.09690000000001</c:v>
                </c:pt>
                <c:pt idx="3">
                  <c:v>520.99090000000001</c:v>
                </c:pt>
                <c:pt idx="4">
                  <c:v>300.56389999999999</c:v>
                </c:pt>
                <c:pt idx="5">
                  <c:v>585.10029999999995</c:v>
                </c:pt>
                <c:pt idx="6">
                  <c:v>386.5265</c:v>
                </c:pt>
              </c:numCache>
            </c:numRef>
          </c:xVal>
          <c:yVal>
            <c:numRef>
              <c:f>Sheet1!$B$2:$B$8</c:f>
              <c:numCache>
                <c:formatCode>General</c:formatCode>
                <c:ptCount val="7"/>
                <c:pt idx="0">
                  <c:v>0.88600000000000001</c:v>
                </c:pt>
                <c:pt idx="1">
                  <c:v>2.3919999999999999</c:v>
                </c:pt>
                <c:pt idx="2">
                  <c:v>2.1419999999999999</c:v>
                </c:pt>
                <c:pt idx="3">
                  <c:v>2.415</c:v>
                </c:pt>
                <c:pt idx="4">
                  <c:v>1.099</c:v>
                </c:pt>
                <c:pt idx="5">
                  <c:v>2.0419999999999998</c:v>
                </c:pt>
                <c:pt idx="6">
                  <c:v>4.6230000000000002</c:v>
                </c:pt>
              </c:numCache>
            </c:numRef>
          </c:yVal>
          <c:bubbleSize>
            <c:numRef>
              <c:f>Sheet1!$C$2:$C$8</c:f>
              <c:numCache>
                <c:formatCode>General</c:formatCode>
                <c:ptCount val="7"/>
                <c:pt idx="0">
                  <c:v>12857206</c:v>
                </c:pt>
                <c:pt idx="1">
                  <c:v>3791655</c:v>
                </c:pt>
                <c:pt idx="2">
                  <c:v>3786091</c:v>
                </c:pt>
                <c:pt idx="3">
                  <c:v>2173053</c:v>
                </c:pt>
                <c:pt idx="4">
                  <c:v>1656708</c:v>
                </c:pt>
                <c:pt idx="5">
                  <c:v>1085361</c:v>
                </c:pt>
                <c:pt idx="6">
                  <c:v>444119</c:v>
                </c:pt>
              </c:numCache>
            </c:numRef>
          </c:bubbleSize>
          <c:bubble3D val="0"/>
          <c:extLst>
            <c:ext xmlns:c15="http://schemas.microsoft.com/office/drawing/2012/chart" uri="{02D57815-91ED-43cb-92C2-25804820EDAC}">
              <c15:datalabelsRange>
                <c15:f>Sheet1!$E$2:$E$10</c15:f>
                <c15:dlblRangeCache>
                  <c:ptCount val="9"/>
                  <c:pt idx="0">
                    <c:v>J&amp;J</c:v>
                  </c:pt>
                  <c:pt idx="1">
                    <c:v>L'Oreal</c:v>
                  </c:pt>
                  <c:pt idx="2">
                    <c:v>Isdin</c:v>
                  </c:pt>
                  <c:pt idx="3">
                    <c:v>Beiersdorf</c:v>
                  </c:pt>
                  <c:pt idx="4">
                    <c:v>Glaxosmithkline</c:v>
                  </c:pt>
                  <c:pt idx="5">
                    <c:v>Pierre Fabre</c:v>
                  </c:pt>
                  <c:pt idx="6">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2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40145F-EE43-4A23-81CA-4FFAB667D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84ECE9-E5E6-44BF-A9F3-6C7F7F9B6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D665E6-27BA-454A-9AE0-58FCFAAB7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A69EC76-2A90-4728-95C9-0067888FF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B59313-8A8B-414F-89C7-7E8FEAE16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5916FFC-3F25-420E-AA1B-ACE6ED51A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79996BC-3042-4D94-98F9-70EB13055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715BCF0-D30B-4506-99C5-6ED5F668D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32.40450000000001</c:v>
                </c:pt>
                <c:pt idx="1">
                  <c:v>77.320999999999998</c:v>
                </c:pt>
                <c:pt idx="2">
                  <c:v>333.80770000000001</c:v>
                </c:pt>
              </c:numCache>
            </c:numRef>
          </c:xVal>
          <c:yVal>
            <c:numRef>
              <c:f>Sheet1!$B$2:$B$4</c:f>
              <c:numCache>
                <c:formatCode>General</c:formatCode>
                <c:ptCount val="3"/>
                <c:pt idx="0">
                  <c:v>1.08</c:v>
                </c:pt>
                <c:pt idx="1">
                  <c:v>0.61</c:v>
                </c:pt>
                <c:pt idx="2">
                  <c:v>1.7150000000000001</c:v>
                </c:pt>
              </c:numCache>
            </c:numRef>
          </c:yVal>
          <c:bubbleSize>
            <c:numRef>
              <c:f>Sheet1!$C$2:$C$4</c:f>
              <c:numCache>
                <c:formatCode>General</c:formatCode>
                <c:ptCount val="3"/>
                <c:pt idx="0">
                  <c:v>25254936</c:v>
                </c:pt>
                <c:pt idx="1">
                  <c:v>2580898</c:v>
                </c:pt>
                <c:pt idx="2">
                  <c:v>609199</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pt idx="2">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1"/>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2ED13C-315D-489C-9E5D-65EE55D12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E015A5-7787-4376-9C83-6B901226F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6494DF-75EF-44DB-952D-23A8CFE36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123022-52EF-4B85-B7DA-7BBFAD3FC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337431-8E98-4D92-A8E9-44DFD8849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1C2344-E321-4D80-B88F-D00FC4423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9AC03BF-9CB4-4FB5-93D3-0C99F8744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0E9C1E6-899E-4F07-B842-15F2A16C0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1.63650000000001</c:v>
                </c:pt>
                <c:pt idx="1">
                  <c:v>215.57769999999999</c:v>
                </c:pt>
                <c:pt idx="2">
                  <c:v>89.680300000000003</c:v>
                </c:pt>
                <c:pt idx="3">
                  <c:v>77.155699999999996</c:v>
                </c:pt>
                <c:pt idx="4">
                  <c:v>191.75020000000001</c:v>
                </c:pt>
              </c:numCache>
            </c:numRef>
          </c:xVal>
          <c:yVal>
            <c:numRef>
              <c:f>Sheet1!$B$2:$B$6</c:f>
              <c:numCache>
                <c:formatCode>General</c:formatCode>
                <c:ptCount val="5"/>
                <c:pt idx="0">
                  <c:v>1.24</c:v>
                </c:pt>
                <c:pt idx="1">
                  <c:v>0.92</c:v>
                </c:pt>
                <c:pt idx="2">
                  <c:v>0.53</c:v>
                </c:pt>
                <c:pt idx="3">
                  <c:v>0.46700000000000003</c:v>
                </c:pt>
                <c:pt idx="4">
                  <c:v>3.669</c:v>
                </c:pt>
              </c:numCache>
            </c:numRef>
          </c:yVal>
          <c:bubbleSize>
            <c:numRef>
              <c:f>Sheet1!$C$2:$C$6</c:f>
              <c:numCache>
                <c:formatCode>General</c:formatCode>
                <c:ptCount val="5"/>
                <c:pt idx="0">
                  <c:v>88331422</c:v>
                </c:pt>
                <c:pt idx="1">
                  <c:v>52277149</c:v>
                </c:pt>
                <c:pt idx="2">
                  <c:v>9097885</c:v>
                </c:pt>
                <c:pt idx="3">
                  <c:v>6946792</c:v>
                </c:pt>
                <c:pt idx="4">
                  <c:v>5077738</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3DE60F-2515-4DE6-B7F7-4261C4365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4C7001-9595-4501-BE53-10454D48B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D5B182-9515-44FA-802D-480710EF6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3FC77C-F8E8-40B4-9666-E7BD67276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CD32A8-394B-43F5-AD40-F3D22D34A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7C178B-4325-44FE-A983-7CF09808A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1F7F75-EEB2-40FC-9D42-EF05D38B5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BB046F-9656-46AE-B3E7-94ABDECBC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0.55079999999998</c:v>
                </c:pt>
                <c:pt idx="1">
                  <c:v>289.0043</c:v>
                </c:pt>
                <c:pt idx="2">
                  <c:v>425.89449999999999</c:v>
                </c:pt>
                <c:pt idx="3">
                  <c:v>592.2799</c:v>
                </c:pt>
                <c:pt idx="4">
                  <c:v>555.53340000000003</c:v>
                </c:pt>
                <c:pt idx="5">
                  <c:v>322.97570000000002</c:v>
                </c:pt>
                <c:pt idx="6">
                  <c:v>599.99940000000004</c:v>
                </c:pt>
                <c:pt idx="7">
                  <c:v>398.12189999999998</c:v>
                </c:pt>
              </c:numCache>
            </c:numRef>
          </c:xVal>
          <c:yVal>
            <c:numRef>
              <c:f>Sheet1!$B$2:$B$9</c:f>
              <c:numCache>
                <c:formatCode>General</c:formatCode>
                <c:ptCount val="8"/>
                <c:pt idx="0">
                  <c:v>1.3460000000000001</c:v>
                </c:pt>
                <c:pt idx="1">
                  <c:v>0.67</c:v>
                </c:pt>
                <c:pt idx="2">
                  <c:v>1.7410000000000001</c:v>
                </c:pt>
                <c:pt idx="3">
                  <c:v>1.7170000000000001</c:v>
                </c:pt>
                <c:pt idx="4">
                  <c:v>1.4890000000000001</c:v>
                </c:pt>
                <c:pt idx="5">
                  <c:v>0.81499999999999995</c:v>
                </c:pt>
                <c:pt idx="6">
                  <c:v>2.1669999999999998</c:v>
                </c:pt>
                <c:pt idx="7">
                  <c:v>1.371</c:v>
                </c:pt>
              </c:numCache>
            </c:numRef>
          </c:yVal>
          <c:bubbleSize>
            <c:numRef>
              <c:f>Sheet1!$C$2:$C$9</c:f>
              <c:numCache>
                <c:formatCode>General</c:formatCode>
                <c:ptCount val="8"/>
                <c:pt idx="0">
                  <c:v>17830499</c:v>
                </c:pt>
                <c:pt idx="1">
                  <c:v>15832523</c:v>
                </c:pt>
                <c:pt idx="2">
                  <c:v>11332201</c:v>
                </c:pt>
                <c:pt idx="3">
                  <c:v>6878146</c:v>
                </c:pt>
                <c:pt idx="4">
                  <c:v>3533748</c:v>
                </c:pt>
                <c:pt idx="5">
                  <c:v>2700077</c:v>
                </c:pt>
                <c:pt idx="6">
                  <c:v>1855198</c:v>
                </c:pt>
                <c:pt idx="7">
                  <c:v>1346050</c:v>
                </c:pt>
              </c:numCache>
            </c:numRef>
          </c:bubbleSize>
          <c:bubble3D val="0"/>
          <c:extLst>
            <c:ext xmlns:c15="http://schemas.microsoft.com/office/drawing/2012/chart" uri="{02D57815-91ED-43cb-92C2-25804820EDAC}">
              <c15:datalabelsRange>
                <c15:f>Sheet1!$E$2:$E$10</c15:f>
                <c15:dlblRangeCache>
                  <c:ptCount val="9"/>
                  <c:pt idx="0">
                    <c:v>Isdin</c:v>
                  </c:pt>
                  <c:pt idx="1">
                    <c:v>J&amp;J</c:v>
                  </c:pt>
                  <c:pt idx="2">
                    <c:v>L'Oreal</c:v>
                  </c:pt>
                  <c:pt idx="3">
                    <c:v>Beiersdorf</c:v>
                  </c:pt>
                  <c:pt idx="4">
                    <c:v>Pierre Fabre</c:v>
                  </c:pt>
                  <c:pt idx="5">
                    <c:v>Glaxosmithkline</c:v>
                  </c:pt>
                  <c:pt idx="6">
                    <c:v>Bioderma</c:v>
                  </c:pt>
                  <c:pt idx="7">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2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9BBCC5-0BE8-4B0F-9009-317C5EF18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DEF7DD-35CB-4CAE-AFFE-41B2D4A7F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FD55E50-2A15-444D-B216-AA3337856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6E61B9-D5AD-4B7E-827F-E957638BA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DC3C562-F8C4-49D8-9D38-F87825287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D7D1FA2-688C-46DD-AFC5-6EF3A82CF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5D387C6-EAF8-4F16-A749-C8F381AB6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9E854A3-FE3C-46E4-AEC8-6E7755F71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27.30080000000001</c:v>
                </c:pt>
                <c:pt idx="1">
                  <c:v>74.371600000000001</c:v>
                </c:pt>
              </c:numCache>
            </c:numRef>
          </c:xVal>
          <c:yVal>
            <c:numRef>
              <c:f>Sheet1!$B$2:$B$3</c:f>
              <c:numCache>
                <c:formatCode>General</c:formatCode>
                <c:ptCount val="2"/>
                <c:pt idx="0">
                  <c:v>1.131</c:v>
                </c:pt>
                <c:pt idx="1">
                  <c:v>0.63</c:v>
                </c:pt>
              </c:numCache>
            </c:numRef>
          </c:yVal>
          <c:bubbleSize>
            <c:numRef>
              <c:f>Sheet1!$C$2:$C$3</c:f>
              <c:numCache>
                <c:formatCode>General</c:formatCode>
                <c:ptCount val="2"/>
                <c:pt idx="0">
                  <c:v>19231920</c:v>
                </c:pt>
                <c:pt idx="1">
                  <c:v>3365985</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3"/>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7E2F41-9B95-4FA4-96EC-49F457731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3E13C9-A09D-4165-9061-1E1E01B92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89A464-34F7-4CAB-8AF8-48646EE8B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EC009A-3C16-4563-8627-2280347FA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94EC920-7984-4FDA-B771-E6FC02E74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11E45A-D768-453D-A640-4D798676D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318DD2-B747-4C14-9037-6A1C226DE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D5B9F83-3D0A-497F-A4D5-27C81BE27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6.5461</c:v>
                </c:pt>
                <c:pt idx="1">
                  <c:v>223.35149999999999</c:v>
                </c:pt>
                <c:pt idx="2">
                  <c:v>89.606899999999996</c:v>
                </c:pt>
                <c:pt idx="3">
                  <c:v>76.301599999999993</c:v>
                </c:pt>
                <c:pt idx="4">
                  <c:v>194.9897</c:v>
                </c:pt>
              </c:numCache>
            </c:numRef>
          </c:xVal>
          <c:yVal>
            <c:numRef>
              <c:f>Sheet1!$B$2:$B$6</c:f>
              <c:numCache>
                <c:formatCode>General</c:formatCode>
                <c:ptCount val="5"/>
                <c:pt idx="0">
                  <c:v>1.264</c:v>
                </c:pt>
                <c:pt idx="1">
                  <c:v>0.95899999999999996</c:v>
                </c:pt>
                <c:pt idx="2">
                  <c:v>0.49399999999999999</c:v>
                </c:pt>
                <c:pt idx="3">
                  <c:v>0.46600000000000003</c:v>
                </c:pt>
                <c:pt idx="4">
                  <c:v>3.7149999999999999</c:v>
                </c:pt>
              </c:numCache>
            </c:numRef>
          </c:yVal>
          <c:bubbleSize>
            <c:numRef>
              <c:f>Sheet1!$C$2:$C$6</c:f>
              <c:numCache>
                <c:formatCode>General</c:formatCode>
                <c:ptCount val="5"/>
                <c:pt idx="0">
                  <c:v>71214845</c:v>
                </c:pt>
                <c:pt idx="1">
                  <c:v>60221583</c:v>
                </c:pt>
                <c:pt idx="2">
                  <c:v>8455487</c:v>
                </c:pt>
                <c:pt idx="3">
                  <c:v>5048116</c:v>
                </c:pt>
                <c:pt idx="4">
                  <c:v>389921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128BCF-55ED-49FD-B078-840019BD5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44F46B-408D-4928-A199-D9B03B9C2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63528B-F69C-4F4F-9B9C-149FBC626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BBE3F3-BF97-47ED-9D68-5A927FB3E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AF5629-D617-4430-95FE-D8D2B5E71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E70BF1-15C4-44DC-81BC-8B0CEC6E3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F9C88C-2FE8-4C21-AE14-56837E529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8930D9-ED12-4F40-B62D-D48A4910F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699999999998</c:v>
                </c:pt>
                <c:pt idx="1">
                  <c:v>296.70359999999999</c:v>
                </c:pt>
                <c:pt idx="2">
                  <c:v>437.95949999999999</c:v>
                </c:pt>
                <c:pt idx="3">
                  <c:v>583.74170000000004</c:v>
                </c:pt>
                <c:pt idx="4">
                  <c:v>541.57370000000003</c:v>
                </c:pt>
                <c:pt idx="5">
                  <c:v>569.41949999999997</c:v>
                </c:pt>
                <c:pt idx="6">
                  <c:v>328.01260000000002</c:v>
                </c:pt>
                <c:pt idx="7">
                  <c:v>390.04090000000002</c:v>
                </c:pt>
              </c:numCache>
            </c:numRef>
          </c:xVal>
          <c:yVal>
            <c:numRef>
              <c:f>Sheet1!$B$2:$B$9</c:f>
              <c:numCache>
                <c:formatCode>General</c:formatCode>
                <c:ptCount val="8"/>
                <c:pt idx="0">
                  <c:v>1.319</c:v>
                </c:pt>
                <c:pt idx="1">
                  <c:v>0.72099999999999997</c:v>
                </c:pt>
                <c:pt idx="2">
                  <c:v>1.6739999999999999</c:v>
                </c:pt>
                <c:pt idx="3">
                  <c:v>1.653</c:v>
                </c:pt>
                <c:pt idx="4">
                  <c:v>1.498</c:v>
                </c:pt>
                <c:pt idx="5">
                  <c:v>1.956</c:v>
                </c:pt>
                <c:pt idx="6">
                  <c:v>0.87</c:v>
                </c:pt>
                <c:pt idx="7">
                  <c:v>1.3839999999999999</c:v>
                </c:pt>
              </c:numCache>
            </c:numRef>
          </c:yVal>
          <c:bubbleSize>
            <c:numRef>
              <c:f>Sheet1!$C$2:$C$9</c:f>
              <c:numCache>
                <c:formatCode>General</c:formatCode>
                <c:ptCount val="8"/>
                <c:pt idx="0">
                  <c:v>16648350</c:v>
                </c:pt>
                <c:pt idx="1">
                  <c:v>15085897</c:v>
                </c:pt>
                <c:pt idx="2">
                  <c:v>11157895</c:v>
                </c:pt>
                <c:pt idx="3">
                  <c:v>5453315</c:v>
                </c:pt>
                <c:pt idx="4">
                  <c:v>3846798</c:v>
                </c:pt>
                <c:pt idx="5">
                  <c:v>2465017</c:v>
                </c:pt>
                <c:pt idx="6">
                  <c:v>1769628</c:v>
                </c:pt>
                <c:pt idx="7">
                  <c:v>1372164</c:v>
                </c:pt>
              </c:numCache>
            </c:numRef>
          </c:bubbleSize>
          <c:bubble3D val="0"/>
          <c:extLst>
            <c:ext xmlns:c15="http://schemas.microsoft.com/office/drawing/2012/chart" uri="{02D57815-91ED-43cb-92C2-25804820EDAC}">
              <c15:datalabelsRange>
                <c15:f>Sheet1!$E$2:$E$10</c15:f>
                <c15:dlblRangeCache>
                  <c:ptCount val="9"/>
                  <c:pt idx="0">
                    <c:v>Isdin</c:v>
                  </c:pt>
                  <c:pt idx="1">
                    <c:v>J&amp;J</c:v>
                  </c:pt>
                  <c:pt idx="2">
                    <c:v>L'Oreal</c:v>
                  </c:pt>
                  <c:pt idx="3">
                    <c:v>Beiersdorf</c:v>
                  </c:pt>
                  <c:pt idx="4">
                    <c:v>Pierre Fabre</c:v>
                  </c:pt>
                  <c:pt idx="5">
                    <c:v>Bioderma</c:v>
                  </c:pt>
                  <c:pt idx="6">
                    <c:v>Glaxosmithkline</c:v>
                  </c:pt>
                  <c:pt idx="7">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23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132BE3-30B9-4E12-88DB-217DDABD7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DF6D89-808A-474F-A89B-F1A770FAA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8E880AB-3F88-47BF-926E-A7F9D0E17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93CA44A-5DC1-4F48-B6E2-B3940B55B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46404FD-E696-427E-9B06-01D2DDA6A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C746A3E-0146-460F-80D5-E2A1856B2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65ACE64-3FDD-45A5-9898-6A04FAD23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FCBC9FD-A57D-4ACF-8735-18061A028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1.33799999999999</c:v>
                </c:pt>
                <c:pt idx="1">
                  <c:v>76.600200000000001</c:v>
                </c:pt>
              </c:numCache>
            </c:numRef>
          </c:xVal>
          <c:yVal>
            <c:numRef>
              <c:f>Sheet1!$B$2:$B$3</c:f>
              <c:numCache>
                <c:formatCode>General</c:formatCode>
                <c:ptCount val="2"/>
                <c:pt idx="0">
                  <c:v>1.1160000000000001</c:v>
                </c:pt>
                <c:pt idx="1">
                  <c:v>0.57299999999999995</c:v>
                </c:pt>
              </c:numCache>
            </c:numRef>
          </c:yVal>
          <c:bubbleSize>
            <c:numRef>
              <c:f>Sheet1!$C$2:$C$3</c:f>
              <c:numCache>
                <c:formatCode>General</c:formatCode>
                <c:ptCount val="2"/>
                <c:pt idx="0">
                  <c:v>24601031</c:v>
                </c:pt>
                <c:pt idx="1">
                  <c:v>2911269</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B7A9A0-6F68-4114-90DC-4BB8397FE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177DDA-73DE-42D9-B92F-F9396597A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77A79F-02D4-4AD5-9934-AA6C8EB99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1CFD83-4FBA-4077-800E-5638EA999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1C4E09-CA90-4553-B2D5-A58318F0D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F868BA3-ACD4-4CBE-90E7-404764913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6AECFF-7EF2-459C-874A-A8A966770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19536EF-FB4B-42EA-BFBF-134EE203B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2.51070000000001</c:v>
                </c:pt>
                <c:pt idx="1">
                  <c:v>225.72239999999999</c:v>
                </c:pt>
                <c:pt idx="2">
                  <c:v>85.383099999999999</c:v>
                </c:pt>
                <c:pt idx="3">
                  <c:v>187.35980000000001</c:v>
                </c:pt>
                <c:pt idx="4">
                  <c:v>73.909300000000002</c:v>
                </c:pt>
              </c:numCache>
            </c:numRef>
          </c:xVal>
          <c:yVal>
            <c:numRef>
              <c:f>Sheet1!$B$2:$B$6</c:f>
              <c:numCache>
                <c:formatCode>General</c:formatCode>
                <c:ptCount val="5"/>
                <c:pt idx="0">
                  <c:v>1.19</c:v>
                </c:pt>
                <c:pt idx="1">
                  <c:v>0.91100000000000003</c:v>
                </c:pt>
                <c:pt idx="2">
                  <c:v>0.47199999999999998</c:v>
                </c:pt>
                <c:pt idx="3">
                  <c:v>3.3159999999999998</c:v>
                </c:pt>
                <c:pt idx="4">
                  <c:v>0.43099999999999999</c:v>
                </c:pt>
              </c:numCache>
            </c:numRef>
          </c:yVal>
          <c:bubbleSize>
            <c:numRef>
              <c:f>Sheet1!$C$2:$C$6</c:f>
              <c:numCache>
                <c:formatCode>General</c:formatCode>
                <c:ptCount val="5"/>
                <c:pt idx="0">
                  <c:v>68815552</c:v>
                </c:pt>
                <c:pt idx="1">
                  <c:v>43677066</c:v>
                </c:pt>
                <c:pt idx="2">
                  <c:v>4260020</c:v>
                </c:pt>
                <c:pt idx="3">
                  <c:v>3010310</c:v>
                </c:pt>
                <c:pt idx="4">
                  <c:v>1682618</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L'Oreal</c:v>
                  </c:pt>
                  <c:pt idx="4">
                    <c:v>Inds.Lavin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B4640E-C0E5-462A-9A36-433B00958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913558-9D16-4724-A9E4-9B70AEBCC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F30C95-E75E-4714-BD0C-36DD83150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316647-0D02-4821-B431-01B5BD562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572D8D-5DE6-4905-9992-F1E902D9B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A0343D-3457-4C73-BA46-9D596208E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1DD4BD-64D5-4834-A39F-8A63903AA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E483DF-0C11-4AE7-B8FA-AFDA7A43C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697</c:v>
                </c:pt>
                <c:pt idx="1">
                  <c:v>552.87279999999998</c:v>
                </c:pt>
                <c:pt idx="2">
                  <c:v>195.15170000000001</c:v>
                </c:pt>
                <c:pt idx="3">
                  <c:v>200.31549999999999</c:v>
                </c:pt>
                <c:pt idx="4">
                  <c:v>467.46899999999999</c:v>
                </c:pt>
                <c:pt idx="5">
                  <c:v>291.7559</c:v>
                </c:pt>
                <c:pt idx="6">
                  <c:v>553.74220000000003</c:v>
                </c:pt>
                <c:pt idx="7">
                  <c:v>220.01349999999999</c:v>
                </c:pt>
              </c:numCache>
            </c:numRef>
          </c:xVal>
          <c:yVal>
            <c:numRef>
              <c:f>Sheet1!$B$2:$B$9</c:f>
              <c:numCache>
                <c:formatCode>General</c:formatCode>
                <c:ptCount val="8"/>
                <c:pt idx="0">
                  <c:v>0.88400000000000001</c:v>
                </c:pt>
                <c:pt idx="1">
                  <c:v>3.3940000000000001</c:v>
                </c:pt>
                <c:pt idx="2">
                  <c:v>0.58299999999999996</c:v>
                </c:pt>
                <c:pt idx="3">
                  <c:v>0.56999999999999995</c:v>
                </c:pt>
                <c:pt idx="4">
                  <c:v>4.6130000000000004</c:v>
                </c:pt>
                <c:pt idx="5">
                  <c:v>1.6870000000000001</c:v>
                </c:pt>
                <c:pt idx="6">
                  <c:v>3.766</c:v>
                </c:pt>
                <c:pt idx="7">
                  <c:v>2.17</c:v>
                </c:pt>
              </c:numCache>
            </c:numRef>
          </c:yVal>
          <c:bubbleSize>
            <c:numRef>
              <c:f>Sheet1!$C$2:$C$9</c:f>
              <c:numCache>
                <c:formatCode>General</c:formatCode>
                <c:ptCount val="8"/>
                <c:pt idx="0">
                  <c:v>77861555</c:v>
                </c:pt>
                <c:pt idx="1">
                  <c:v>38563986</c:v>
                </c:pt>
                <c:pt idx="2">
                  <c:v>34244636</c:v>
                </c:pt>
                <c:pt idx="3">
                  <c:v>32745172</c:v>
                </c:pt>
                <c:pt idx="4">
                  <c:v>25602342</c:v>
                </c:pt>
                <c:pt idx="5">
                  <c:v>19448156</c:v>
                </c:pt>
                <c:pt idx="6">
                  <c:v>14026291</c:v>
                </c:pt>
                <c:pt idx="7">
                  <c:v>191719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Banana Boat</c:v>
                  </c:pt>
                  <c:pt idx="4">
                    <c:v>La Roche-Posay</c:v>
                  </c:pt>
                  <c:pt idx="5">
                    <c:v>Neutrogena</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4"/>
          <c:min val="15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31F9851-1FAF-451C-AB1F-2C981E63F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2CDD3CE-534D-4A06-998F-29236EC74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AFB9E01-61A5-4B9E-91EE-F306D9E0D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1A948BF-3FC4-4794-B85C-B1ED10256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74BB809-5363-4ABF-A3AD-864733E9C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AAE69ABC-1DD8-4C11-B2B6-2BCF77BDF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B1F1168-2D5A-4036-B4E5-637F4BF14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740A3A6-4E62-4F22-929C-117499ED9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8.98309999999998</c:v>
                </c:pt>
                <c:pt idx="1">
                  <c:v>249.02600000000001</c:v>
                </c:pt>
                <c:pt idx="2">
                  <c:v>224.2826</c:v>
                </c:pt>
                <c:pt idx="3">
                  <c:v>132.23079999999999</c:v>
                </c:pt>
                <c:pt idx="4">
                  <c:v>320.83780000000002</c:v>
                </c:pt>
              </c:numCache>
            </c:numRef>
          </c:xVal>
          <c:yVal>
            <c:numRef>
              <c:f>Sheet1!$B$2:$B$6</c:f>
              <c:numCache>
                <c:formatCode>General</c:formatCode>
                <c:ptCount val="5"/>
                <c:pt idx="0">
                  <c:v>1.0429999999999999</c:v>
                </c:pt>
                <c:pt idx="1">
                  <c:v>1.1499999999999999</c:v>
                </c:pt>
                <c:pt idx="2">
                  <c:v>0.86899999999999999</c:v>
                </c:pt>
                <c:pt idx="3">
                  <c:v>0.83499999999999996</c:v>
                </c:pt>
                <c:pt idx="4">
                  <c:v>1.2909999999999999</c:v>
                </c:pt>
              </c:numCache>
            </c:numRef>
          </c:yVal>
          <c:bubbleSize>
            <c:numRef>
              <c:f>Sheet1!$C$2:$C$6</c:f>
              <c:numCache>
                <c:formatCode>General</c:formatCode>
                <c:ptCount val="5"/>
                <c:pt idx="0">
                  <c:v>2737172</c:v>
                </c:pt>
                <c:pt idx="1">
                  <c:v>1255340</c:v>
                </c:pt>
                <c:pt idx="2">
                  <c:v>671502</c:v>
                </c:pt>
                <c:pt idx="3">
                  <c:v>179305</c:v>
                </c:pt>
                <c:pt idx="4">
                  <c:v>59355</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Cerapil</c:v>
                  </c:pt>
                  <c:pt idx="4">
                    <c:v>Australian Gold</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5"/>
          <c:min val="10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549D0A-843D-4411-A6CC-7E46F0BAF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D39CC8-8EB5-444E-8D17-47AE00BBC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B0A9B2-C3C9-4B03-BF67-BB7DF5AFA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8711A5-4B05-41BE-BBB2-5F7AC43F3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CBD909-8DE8-4BA1-B420-AF340187B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9EFA99-2AC3-47BE-94B0-A7BB6CE26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C7877D-9A9C-4A34-B700-6859B5DFD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BCC23CD-606E-4D6C-9468-8EBA42E93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4.39339999999999</c:v>
                </c:pt>
                <c:pt idx="1">
                  <c:v>391.14830000000001</c:v>
                </c:pt>
                <c:pt idx="2">
                  <c:v>600.36440000000005</c:v>
                </c:pt>
                <c:pt idx="3">
                  <c:v>601.63699999999994</c:v>
                </c:pt>
                <c:pt idx="4">
                  <c:v>322.10379999999998</c:v>
                </c:pt>
                <c:pt idx="5">
                  <c:v>564.30820000000006</c:v>
                </c:pt>
                <c:pt idx="6">
                  <c:v>519.03300000000002</c:v>
                </c:pt>
                <c:pt idx="7">
                  <c:v>397.97019999999998</c:v>
                </c:pt>
              </c:numCache>
            </c:numRef>
          </c:xVal>
          <c:yVal>
            <c:numRef>
              <c:f>Sheet1!$B$2:$B$9</c:f>
              <c:numCache>
                <c:formatCode>General</c:formatCode>
                <c:ptCount val="8"/>
                <c:pt idx="0">
                  <c:v>0.81200000000000006</c:v>
                </c:pt>
                <c:pt idx="1">
                  <c:v>2.0950000000000002</c:v>
                </c:pt>
                <c:pt idx="2">
                  <c:v>1.7070000000000001</c:v>
                </c:pt>
                <c:pt idx="3">
                  <c:v>2.2290000000000001</c:v>
                </c:pt>
                <c:pt idx="4">
                  <c:v>1.038</c:v>
                </c:pt>
                <c:pt idx="5">
                  <c:v>2.0059999999999998</c:v>
                </c:pt>
                <c:pt idx="6">
                  <c:v>2.0790000000000002</c:v>
                </c:pt>
                <c:pt idx="7">
                  <c:v>2.4289999999999998</c:v>
                </c:pt>
              </c:numCache>
            </c:numRef>
          </c:yVal>
          <c:bubbleSize>
            <c:numRef>
              <c:f>Sheet1!$C$2:$C$9</c:f>
              <c:numCache>
                <c:formatCode>General</c:formatCode>
                <c:ptCount val="8"/>
                <c:pt idx="0">
                  <c:v>9055836</c:v>
                </c:pt>
                <c:pt idx="1">
                  <c:v>6227863</c:v>
                </c:pt>
                <c:pt idx="2">
                  <c:v>5824135</c:v>
                </c:pt>
                <c:pt idx="3">
                  <c:v>2633967</c:v>
                </c:pt>
                <c:pt idx="4">
                  <c:v>1150877</c:v>
                </c:pt>
                <c:pt idx="5">
                  <c:v>1107737</c:v>
                </c:pt>
                <c:pt idx="6">
                  <c:v>692390</c:v>
                </c:pt>
                <c:pt idx="7">
                  <c:v>641130</c:v>
                </c:pt>
              </c:numCache>
            </c:numRef>
          </c:bubbleSize>
          <c:bubble3D val="0"/>
          <c:extLst>
            <c:ext xmlns:c15="http://schemas.microsoft.com/office/drawing/2012/chart" uri="{02D57815-91ED-43cb-92C2-25804820EDAC}">
              <c15:datalabelsRange>
                <c15:f>Sheet1!$E$2:$E$10</c15:f>
                <c15:dlblRangeCache>
                  <c:ptCount val="9"/>
                  <c:pt idx="0">
                    <c:v>J&amp;J</c:v>
                  </c:pt>
                  <c:pt idx="1">
                    <c:v>L'Oreal</c:v>
                  </c:pt>
                  <c:pt idx="2">
                    <c:v>Isdin</c:v>
                  </c:pt>
                  <c:pt idx="3">
                    <c:v>Beiersdorf</c:v>
                  </c:pt>
                  <c:pt idx="4">
                    <c:v>Glaxosmithkline</c:v>
                  </c:pt>
                  <c:pt idx="5">
                    <c:v>Pierre Fabre</c:v>
                  </c:pt>
                  <c:pt idx="6">
                    <c:v>Bioderma</c:v>
                  </c:pt>
                  <c:pt idx="7">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2"/>
          <c:min val="23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1F9B1A-89C3-46D1-9E60-467701790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8D7849-D6F9-40E9-A14E-C4220FCC9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A5A1FFB-1C76-49E7-8CB3-28CFC2C4A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5CA8650-1DC9-42CD-9B5E-2DD690F17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D5CAA9C-4973-4C4E-B6AF-C6FB44C59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AA96EDA-2DBD-4373-A6EB-0A1851186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BDC1EB1-AB34-454C-AD8F-547965C25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4A6189-8748-42A9-B1AC-0C55386E0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5.65430000000001</c:v>
                </c:pt>
                <c:pt idx="1">
                  <c:v>68.655000000000001</c:v>
                </c:pt>
              </c:numCache>
            </c:numRef>
          </c:xVal>
          <c:yVal>
            <c:numRef>
              <c:f>Sheet1!$B$2:$B$3</c:f>
              <c:numCache>
                <c:formatCode>General</c:formatCode>
                <c:ptCount val="2"/>
                <c:pt idx="0">
                  <c:v>1.083</c:v>
                </c:pt>
                <c:pt idx="1">
                  <c:v>0.52200000000000002</c:v>
                </c:pt>
              </c:numCache>
            </c:numRef>
          </c:yVal>
          <c:bubbleSize>
            <c:numRef>
              <c:f>Sheet1!$C$2:$C$3</c:f>
              <c:numCache>
                <c:formatCode>General</c:formatCode>
                <c:ptCount val="2"/>
                <c:pt idx="0">
                  <c:v>19643995</c:v>
                </c:pt>
                <c:pt idx="1">
                  <c:v>1248010</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5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107D70-FC0E-4B50-A1D8-06AED39DC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75A40A-B52A-410B-BC0C-137B404EA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5046B9-C6EA-48A8-BAA9-BD4FE8D34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2AD0FF-6ADE-40BC-968B-0C7598EC7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F50154-0D23-4486-92B8-9E39ACE32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C946B9-1E0D-48CF-9D6F-1736A74B8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55B1B3-60DF-4030-BC83-BDFA60D1A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9F8175-A9D7-48B1-89FB-698B91D06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8.41390000000001</c:v>
                </c:pt>
                <c:pt idx="1">
                  <c:v>239.17779999999999</c:v>
                </c:pt>
                <c:pt idx="2">
                  <c:v>290.39980000000003</c:v>
                </c:pt>
                <c:pt idx="3">
                  <c:v>84.776200000000003</c:v>
                </c:pt>
                <c:pt idx="4">
                  <c:v>583.22159999999997</c:v>
                </c:pt>
                <c:pt idx="5">
                  <c:v>291.1712</c:v>
                </c:pt>
                <c:pt idx="6">
                  <c:v>76.948599999999999</c:v>
                </c:pt>
                <c:pt idx="7">
                  <c:v>524.01250000000005</c:v>
                </c:pt>
              </c:numCache>
            </c:numRef>
          </c:xVal>
          <c:yVal>
            <c:numRef>
              <c:f>Sheet1!$B$2:$B$9</c:f>
              <c:numCache>
                <c:formatCode>General</c:formatCode>
                <c:ptCount val="8"/>
                <c:pt idx="0">
                  <c:v>1.4219999999999999</c:v>
                </c:pt>
                <c:pt idx="1">
                  <c:v>0.69099999999999995</c:v>
                </c:pt>
                <c:pt idx="2">
                  <c:v>1.986</c:v>
                </c:pt>
                <c:pt idx="3">
                  <c:v>0.41299999999999998</c:v>
                </c:pt>
                <c:pt idx="4">
                  <c:v>7.76</c:v>
                </c:pt>
                <c:pt idx="5">
                  <c:v>3.7309999999999999</c:v>
                </c:pt>
                <c:pt idx="6">
                  <c:v>0.38700000000000001</c:v>
                </c:pt>
                <c:pt idx="7">
                  <c:v>5.0250000000000004</c:v>
                </c:pt>
              </c:numCache>
            </c:numRef>
          </c:yVal>
          <c:bubbleSize>
            <c:numRef>
              <c:f>Sheet1!$C$2:$C$9</c:f>
              <c:numCache>
                <c:formatCode>General</c:formatCode>
                <c:ptCount val="8"/>
                <c:pt idx="0">
                  <c:v>236619686</c:v>
                </c:pt>
                <c:pt idx="1">
                  <c:v>141024256</c:v>
                </c:pt>
                <c:pt idx="2">
                  <c:v>99185766</c:v>
                </c:pt>
                <c:pt idx="3">
                  <c:v>61989834</c:v>
                </c:pt>
                <c:pt idx="4">
                  <c:v>54751094</c:v>
                </c:pt>
                <c:pt idx="5">
                  <c:v>42322603</c:v>
                </c:pt>
                <c:pt idx="6">
                  <c:v>32892975</c:v>
                </c:pt>
                <c:pt idx="7">
                  <c:v>14273576</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Total Care De Mexico</c:v>
                  </c:pt>
                  <c:pt idx="4">
                    <c:v>Isdin</c:v>
                  </c:pt>
                  <c:pt idx="5">
                    <c:v>L'Oreal</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063271-ED7D-4694-8640-105AFD69C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C3F9E2-DBE4-4D57-9E57-79C9EB549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B070E1-8318-4550-A8B9-184800CD5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23642AC-0D8E-427E-921E-9B6FB7922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A9E60E9-CF76-43C8-B3C7-AB19013D1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515E7DD-F1FA-4BF1-AFEF-FB6654B3D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D51C2F2-1FC6-4E6A-ACF1-1B48EB56A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12F757-E27A-482B-9DF2-0898CB9DD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9.91909999999999</c:v>
                </c:pt>
                <c:pt idx="1">
                  <c:v>228.01150000000001</c:v>
                </c:pt>
                <c:pt idx="2">
                  <c:v>262.3981</c:v>
                </c:pt>
              </c:numCache>
            </c:numRef>
          </c:xVal>
          <c:yVal>
            <c:numRef>
              <c:f>Sheet1!$B$2:$B$4</c:f>
              <c:numCache>
                <c:formatCode>General</c:formatCode>
                <c:ptCount val="3"/>
                <c:pt idx="0">
                  <c:v>0.91200000000000003</c:v>
                </c:pt>
                <c:pt idx="1">
                  <c:v>0.98199999999999998</c:v>
                </c:pt>
                <c:pt idx="2">
                  <c:v>4.72</c:v>
                </c:pt>
              </c:numCache>
            </c:numRef>
          </c:yVal>
          <c:bubbleSize>
            <c:numRef>
              <c:f>Sheet1!$C$2:$C$4</c:f>
              <c:numCache>
                <c:formatCode>General</c:formatCode>
                <c:ptCount val="3"/>
                <c:pt idx="0">
                  <c:v>175716875</c:v>
                </c:pt>
                <c:pt idx="1">
                  <c:v>160563414</c:v>
                </c:pt>
                <c:pt idx="2">
                  <c:v>21900006</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14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27340C-1773-4188-A12D-5816A0889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87492B-1152-4AF9-BD1C-5F782502F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6C4C23-2CDB-428D-B6B7-E1EB0E9EB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2D0E1A-0A28-4097-9EBF-0BD435071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F635C7-4ABD-4DC3-8830-4736FCCDD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7A165DA-909C-4F13-AC67-E468CAA36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A335574-ED82-4EB1-8445-0829B23A9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B51A66-43A4-442E-B752-57BBDE9EA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4.94869999999997</c:v>
                </c:pt>
                <c:pt idx="1">
                  <c:v>147.83150000000001</c:v>
                </c:pt>
                <c:pt idx="2">
                  <c:v>589.79920000000004</c:v>
                </c:pt>
                <c:pt idx="3">
                  <c:v>539.37109999999996</c:v>
                </c:pt>
                <c:pt idx="4">
                  <c:v>567.20190000000002</c:v>
                </c:pt>
              </c:numCache>
            </c:numRef>
          </c:xVal>
          <c:yVal>
            <c:numRef>
              <c:f>Sheet1!$B$2:$B$6</c:f>
              <c:numCache>
                <c:formatCode>General</c:formatCode>
                <c:ptCount val="5"/>
                <c:pt idx="0">
                  <c:v>1.1359999999999999</c:v>
                </c:pt>
                <c:pt idx="1">
                  <c:v>0.4</c:v>
                </c:pt>
                <c:pt idx="2">
                  <c:v>1.8049999999999999</c:v>
                </c:pt>
                <c:pt idx="3">
                  <c:v>8.5579999999999998</c:v>
                </c:pt>
                <c:pt idx="4">
                  <c:v>52.46</c:v>
                </c:pt>
              </c:numCache>
            </c:numRef>
          </c:yVal>
          <c:bubbleSize>
            <c:numRef>
              <c:f>Sheet1!$C$2:$C$6</c:f>
              <c:numCache>
                <c:formatCode>General</c:formatCode>
                <c:ptCount val="5"/>
                <c:pt idx="0">
                  <c:v>103041984</c:v>
                </c:pt>
                <c:pt idx="1">
                  <c:v>16666372</c:v>
                </c:pt>
                <c:pt idx="2">
                  <c:v>16169345</c:v>
                </c:pt>
                <c:pt idx="3">
                  <c:v>5506979</c:v>
                </c:pt>
                <c:pt idx="4">
                  <c:v>1573418</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
          <c:min val="1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A745DC-062D-4224-ACD1-87C7ADD98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D83044-722D-4689-9398-DE9E7BFD4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DB8C42-DFE8-403B-9B21-AAA304BF8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C9A03B-133C-42DE-8800-75B9DC2A4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2037D0-28E3-4B34-93C5-E806EFBE9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DB266A-2F99-41B4-B9C8-330AA039F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0C2011-0F4D-456F-BA7F-876722B73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ED03C5-942F-4E8C-B01C-86FA19259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51.95619999999997</c:v>
                </c:pt>
                <c:pt idx="1">
                  <c:v>288.90890000000002</c:v>
                </c:pt>
                <c:pt idx="2">
                  <c:v>580.10599999999999</c:v>
                </c:pt>
                <c:pt idx="3">
                  <c:v>533.79150000000004</c:v>
                </c:pt>
                <c:pt idx="4">
                  <c:v>369.12920000000003</c:v>
                </c:pt>
                <c:pt idx="5">
                  <c:v>269.45240000000001</c:v>
                </c:pt>
              </c:numCache>
            </c:numRef>
          </c:xVal>
          <c:yVal>
            <c:numRef>
              <c:f>Sheet1!$B$2:$B$7</c:f>
              <c:numCache>
                <c:formatCode>General</c:formatCode>
                <c:ptCount val="6"/>
                <c:pt idx="0">
                  <c:v>1.123</c:v>
                </c:pt>
                <c:pt idx="1">
                  <c:v>0.65500000000000003</c:v>
                </c:pt>
                <c:pt idx="2">
                  <c:v>1.3009999999999999</c:v>
                </c:pt>
                <c:pt idx="3">
                  <c:v>1.8520000000000001</c:v>
                </c:pt>
                <c:pt idx="4">
                  <c:v>1.389</c:v>
                </c:pt>
                <c:pt idx="5">
                  <c:v>0.51600000000000001</c:v>
                </c:pt>
              </c:numCache>
            </c:numRef>
          </c:yVal>
          <c:bubbleSize>
            <c:numRef>
              <c:f>Sheet1!$C$2:$C$7</c:f>
              <c:numCache>
                <c:formatCode>General</c:formatCode>
                <c:ptCount val="6"/>
                <c:pt idx="0">
                  <c:v>17135479</c:v>
                </c:pt>
                <c:pt idx="1">
                  <c:v>15762002</c:v>
                </c:pt>
                <c:pt idx="2">
                  <c:v>14920906</c:v>
                </c:pt>
                <c:pt idx="3">
                  <c:v>4767826</c:v>
                </c:pt>
                <c:pt idx="4">
                  <c:v>2334373</c:v>
                </c:pt>
                <c:pt idx="5">
                  <c:v>676056</c:v>
                </c:pt>
              </c:numCache>
            </c:numRef>
          </c:bubbleSize>
          <c:bubble3D val="0"/>
          <c:extLst>
            <c:ext xmlns:c15="http://schemas.microsoft.com/office/drawing/2012/chart" uri="{02D57815-91ED-43cb-92C2-25804820EDAC}">
              <c15:datalabelsRange>
                <c15:f>Sheet1!$E$2:$E$10</c15:f>
                <c15:dlblRangeCache>
                  <c:ptCount val="9"/>
                  <c:pt idx="0">
                    <c:v>L'Oreal</c:v>
                  </c:pt>
                  <c:pt idx="1">
                    <c:v>Beiersdorf</c:v>
                  </c:pt>
                  <c:pt idx="2">
                    <c:v>Isdin</c:v>
                  </c:pt>
                  <c:pt idx="3">
                    <c:v>Pierre Fabre</c:v>
                  </c:pt>
                  <c:pt idx="4">
                    <c:v>Bioderma</c:v>
                  </c:pt>
                  <c:pt idx="5">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21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5DE119-15CD-42ED-84A3-642B843F1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646286-56CF-4873-8947-4E8B1E4D0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EA93B1-7D58-4629-98B5-4A94541FF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3CF085D-5C6B-4706-ABA9-23C0B48EE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CCCAF32-07A0-4F7F-95DE-3060D3CBC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406AB8-BED0-4465-B498-D3AD3CCEE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F1BFA7-5357-4098-BFF6-3C76318FE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9F3FCF-4267-45BA-8A63-71D5E9A32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8.05930000000001</c:v>
                </c:pt>
                <c:pt idx="1">
                  <c:v>286.9622</c:v>
                </c:pt>
                <c:pt idx="2">
                  <c:v>574.69849999999997</c:v>
                </c:pt>
              </c:numCache>
            </c:numRef>
          </c:xVal>
          <c:yVal>
            <c:numRef>
              <c:f>Sheet1!$B$2:$B$4</c:f>
              <c:numCache>
                <c:formatCode>General</c:formatCode>
                <c:ptCount val="3"/>
                <c:pt idx="0">
                  <c:v>0.94899999999999995</c:v>
                </c:pt>
                <c:pt idx="1">
                  <c:v>1.028</c:v>
                </c:pt>
                <c:pt idx="2">
                  <c:v>4.3159999999999998</c:v>
                </c:pt>
              </c:numCache>
            </c:numRef>
          </c:yVal>
          <c:bubbleSize>
            <c:numRef>
              <c:f>Sheet1!$C$2:$C$4</c:f>
              <c:numCache>
                <c:formatCode>General</c:formatCode>
                <c:ptCount val="3"/>
                <c:pt idx="0">
                  <c:v>77896971</c:v>
                </c:pt>
                <c:pt idx="1">
                  <c:v>47692253</c:v>
                </c:pt>
                <c:pt idx="2">
                  <c:v>3287850</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2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73AEED-4AB4-4009-B510-7E6159181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508A45-971F-48A1-8488-41043CC63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B155B4-D3BD-43DB-9F8C-70B424382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B42303-B3C5-4237-A6AF-C2F7BFB1A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08256D-F66B-4F4E-84CF-E88CA487E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579977-72E9-4FB6-AB07-3CC099A0D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5AE833-0F0A-46DC-9649-D786C71B6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378E22-D6C1-4185-8EE7-470FD2A90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23330000000001</c:v>
                </c:pt>
                <c:pt idx="1">
                  <c:v>239.36279999999999</c:v>
                </c:pt>
                <c:pt idx="2">
                  <c:v>289.75259999999997</c:v>
                </c:pt>
                <c:pt idx="3">
                  <c:v>605.11030000000005</c:v>
                </c:pt>
                <c:pt idx="4">
                  <c:v>84.542000000000002</c:v>
                </c:pt>
                <c:pt idx="5">
                  <c:v>249.93129999999999</c:v>
                </c:pt>
                <c:pt idx="6">
                  <c:v>76.5351</c:v>
                </c:pt>
                <c:pt idx="7">
                  <c:v>337.2149</c:v>
                </c:pt>
              </c:numCache>
            </c:numRef>
          </c:xVal>
          <c:yVal>
            <c:numRef>
              <c:f>Sheet1!$B$2:$B$9</c:f>
              <c:numCache>
                <c:formatCode>General</c:formatCode>
                <c:ptCount val="8"/>
                <c:pt idx="0">
                  <c:v>1.377</c:v>
                </c:pt>
                <c:pt idx="1">
                  <c:v>0.67500000000000004</c:v>
                </c:pt>
                <c:pt idx="2">
                  <c:v>1.9370000000000001</c:v>
                </c:pt>
                <c:pt idx="3">
                  <c:v>7.54</c:v>
                </c:pt>
                <c:pt idx="4">
                  <c:v>0.39500000000000002</c:v>
                </c:pt>
                <c:pt idx="5">
                  <c:v>3.4809999999999999</c:v>
                </c:pt>
                <c:pt idx="6">
                  <c:v>0.376</c:v>
                </c:pt>
                <c:pt idx="7">
                  <c:v>2.3290000000000002</c:v>
                </c:pt>
              </c:numCache>
            </c:numRef>
          </c:yVal>
          <c:bubbleSize>
            <c:numRef>
              <c:f>Sheet1!$C$2:$C$9</c:f>
              <c:numCache>
                <c:formatCode>General</c:formatCode>
                <c:ptCount val="8"/>
                <c:pt idx="0">
                  <c:v>53595231</c:v>
                </c:pt>
                <c:pt idx="1">
                  <c:v>30376338</c:v>
                </c:pt>
                <c:pt idx="2">
                  <c:v>27303679</c:v>
                </c:pt>
                <c:pt idx="3">
                  <c:v>13297903</c:v>
                </c:pt>
                <c:pt idx="4">
                  <c:v>13020400</c:v>
                </c:pt>
                <c:pt idx="5">
                  <c:v>9052510</c:v>
                </c:pt>
                <c:pt idx="6">
                  <c:v>8185349</c:v>
                </c:pt>
                <c:pt idx="7">
                  <c:v>3039655</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Isdin</c:v>
                  </c:pt>
                  <c:pt idx="4">
                    <c:v>Total Care De Mexico</c:v>
                  </c:pt>
                  <c:pt idx="5">
                    <c:v>L'Oreal</c:v>
                  </c:pt>
                  <c:pt idx="6">
                    <c:v>Inds.Lavin De Mexico</c:v>
                  </c:pt>
                  <c:pt idx="7">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DCAB43-8E5B-489F-96AF-76145033B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1D0389-65C6-4521-968A-C35716934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9EB607-82F2-4B44-8794-B0250F721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B1369C2-3398-46BA-A4B5-94731F4B9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02B0EE-2EDC-462F-9519-8F0B9537C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C4BA5A3-EB3F-4F8D-B1F4-F88F17046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AB81BB-004C-4A5E-A2E0-F318AFE1C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D8F5875-0CED-4AAF-812B-896C6EB07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3.6155</c:v>
                </c:pt>
                <c:pt idx="1">
                  <c:v>231.7578</c:v>
                </c:pt>
                <c:pt idx="2">
                  <c:v>252.6918</c:v>
                </c:pt>
              </c:numCache>
            </c:numRef>
          </c:xVal>
          <c:yVal>
            <c:numRef>
              <c:f>Sheet1!$B$2:$B$4</c:f>
              <c:numCache>
                <c:formatCode>General</c:formatCode>
                <c:ptCount val="3"/>
                <c:pt idx="0">
                  <c:v>0.91400000000000003</c:v>
                </c:pt>
                <c:pt idx="1">
                  <c:v>0.97199999999999998</c:v>
                </c:pt>
                <c:pt idx="2">
                  <c:v>4.5449999999999999</c:v>
                </c:pt>
              </c:numCache>
            </c:numRef>
          </c:yVal>
          <c:bubbleSize>
            <c:numRef>
              <c:f>Sheet1!$C$2:$C$4</c:f>
              <c:numCache>
                <c:formatCode>General</c:formatCode>
                <c:ptCount val="3"/>
                <c:pt idx="0">
                  <c:v>43187366</c:v>
                </c:pt>
                <c:pt idx="1">
                  <c:v>32892227</c:v>
                </c:pt>
                <c:pt idx="2">
                  <c:v>5550122</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3"/>
          <c:min val="13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6A6C05-3D2C-41F6-9642-1ED23E7BD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989EC8-85A9-4CF3-AB3D-FBF091D4E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D864CA-2260-4B02-849A-26497DC17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0E4818-0C61-4824-90F8-2016E8438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89D999-CE88-40E7-9B62-96FFE33D0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AB749BD-238B-4777-BB29-291E98865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5CB930E-75CD-4D6F-8371-FE2D5838A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392755-128A-4867-B3F7-D0F5C4A1C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7.94529999999997</c:v>
                </c:pt>
                <c:pt idx="1">
                  <c:v>593.15440000000001</c:v>
                </c:pt>
                <c:pt idx="2">
                  <c:v>151.57210000000001</c:v>
                </c:pt>
                <c:pt idx="3">
                  <c:v>557.71169999999995</c:v>
                </c:pt>
                <c:pt idx="4">
                  <c:v>439.13940000000002</c:v>
                </c:pt>
              </c:numCache>
            </c:numRef>
          </c:xVal>
          <c:yVal>
            <c:numRef>
              <c:f>Sheet1!$B$2:$B$6</c:f>
              <c:numCache>
                <c:formatCode>General</c:formatCode>
                <c:ptCount val="5"/>
                <c:pt idx="0">
                  <c:v>1.1399999999999999</c:v>
                </c:pt>
                <c:pt idx="1">
                  <c:v>1.7450000000000001</c:v>
                </c:pt>
                <c:pt idx="2">
                  <c:v>0.39300000000000002</c:v>
                </c:pt>
                <c:pt idx="3">
                  <c:v>8.9570000000000007</c:v>
                </c:pt>
                <c:pt idx="4">
                  <c:v>3.3319999999999999</c:v>
                </c:pt>
              </c:numCache>
            </c:numRef>
          </c:yVal>
          <c:bubbleSize>
            <c:numRef>
              <c:f>Sheet1!$C$2:$C$6</c:f>
              <c:numCache>
                <c:formatCode>General</c:formatCode>
                <c:ptCount val="5"/>
                <c:pt idx="0">
                  <c:v>21580787</c:v>
                </c:pt>
                <c:pt idx="1">
                  <c:v>3569010</c:v>
                </c:pt>
                <c:pt idx="2">
                  <c:v>3408553</c:v>
                </c:pt>
                <c:pt idx="3">
                  <c:v>924686</c:v>
                </c:pt>
                <c:pt idx="4">
                  <c:v>362290</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Edgewell</c:v>
                  </c:pt>
                  <c:pt idx="3">
                    <c:v>L'Oreal</c:v>
                  </c:pt>
                  <c:pt idx="4">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2"/>
          <c:min val="1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FF79323-0A77-4C8C-8092-8A8F9DDE7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589DF8FA-F16B-4D88-AABB-9E17D720F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C990C79-EC98-4290-A6BF-8CF0E2585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48BA1930-B06D-4B7C-A5CA-7FF0445B7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5461876C-7F1E-432F-A1F4-6C6EDD235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380D4BFB-D5FD-4791-8DEA-B8119B279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BE5CC3E8-94F6-4303-AFC8-64A7CAF20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3943602-A1D9-4B66-B93E-5AB29A886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8.8724</c:v>
                </c:pt>
                <c:pt idx="1">
                  <c:v>135.2869</c:v>
                </c:pt>
                <c:pt idx="2">
                  <c:v>116.2015</c:v>
                </c:pt>
              </c:numCache>
            </c:numRef>
          </c:xVal>
          <c:yVal>
            <c:numRef>
              <c:f>Sheet1!$B$2:$B$4</c:f>
              <c:numCache>
                <c:formatCode>General</c:formatCode>
                <c:ptCount val="3"/>
                <c:pt idx="0">
                  <c:v>1.264</c:v>
                </c:pt>
                <c:pt idx="1">
                  <c:v>0.80400000000000005</c:v>
                </c:pt>
                <c:pt idx="2">
                  <c:v>1.042</c:v>
                </c:pt>
              </c:numCache>
            </c:numRef>
          </c:yVal>
          <c:bubbleSize>
            <c:numRef>
              <c:f>Sheet1!$C$2:$C$4</c:f>
              <c:numCache>
                <c:formatCode>General</c:formatCode>
                <c:ptCount val="3"/>
                <c:pt idx="0">
                  <c:v>1565109</c:v>
                </c:pt>
                <c:pt idx="1">
                  <c:v>1453252</c:v>
                </c:pt>
                <c:pt idx="2">
                  <c:v>693026</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3"/>
          <c:min val="9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196B01-671A-4ACA-9A53-5EEA2833C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599A12-1C6D-4C46-8915-0DBD86DB8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28CF84-3226-4749-8ADF-090C7C985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60FA84-6D67-42C1-B834-7F5072C70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BC1201-E9E2-478E-AA60-CA7D55F27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D7CD2F-ED37-4274-9D99-35D4294FE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90C0D74-798C-4D4D-B9D5-CE7E093F6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8E3EDD-A003-4217-B205-871A81381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99.28800000000001</c:v>
                </c:pt>
                <c:pt idx="1">
                  <c:v>597.21379999999999</c:v>
                </c:pt>
                <c:pt idx="2">
                  <c:v>592.08069999999998</c:v>
                </c:pt>
                <c:pt idx="3">
                  <c:v>527.82180000000005</c:v>
                </c:pt>
                <c:pt idx="4">
                  <c:v>392.76010000000002</c:v>
                </c:pt>
                <c:pt idx="5">
                  <c:v>271.24009999999998</c:v>
                </c:pt>
              </c:numCache>
            </c:numRef>
          </c:xVal>
          <c:yVal>
            <c:numRef>
              <c:f>Sheet1!$B$2:$B$7</c:f>
              <c:numCache>
                <c:formatCode>General</c:formatCode>
                <c:ptCount val="6"/>
                <c:pt idx="0">
                  <c:v>0.70299999999999996</c:v>
                </c:pt>
                <c:pt idx="1">
                  <c:v>1.276</c:v>
                </c:pt>
                <c:pt idx="2">
                  <c:v>1.268</c:v>
                </c:pt>
                <c:pt idx="3">
                  <c:v>3.38</c:v>
                </c:pt>
                <c:pt idx="4">
                  <c:v>1.738</c:v>
                </c:pt>
                <c:pt idx="5">
                  <c:v>0.52</c:v>
                </c:pt>
              </c:numCache>
            </c:numRef>
          </c:yVal>
          <c:bubbleSize>
            <c:numRef>
              <c:f>Sheet1!$C$2:$C$7</c:f>
              <c:numCache>
                <c:formatCode>General</c:formatCode>
                <c:ptCount val="6"/>
                <c:pt idx="0">
                  <c:v>3972749</c:v>
                </c:pt>
                <c:pt idx="1">
                  <c:v>3184941</c:v>
                </c:pt>
                <c:pt idx="2">
                  <c:v>2691007</c:v>
                </c:pt>
                <c:pt idx="3">
                  <c:v>562658</c:v>
                </c:pt>
                <c:pt idx="4">
                  <c:v>379799</c:v>
                </c:pt>
                <c:pt idx="5">
                  <c:v>259848</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L'Oreal</c:v>
                  </c:pt>
                  <c:pt idx="3">
                    <c:v>Pierre Fabre</c:v>
                  </c:pt>
                  <c:pt idx="4">
                    <c:v>Bioderma</c:v>
                  </c:pt>
                  <c:pt idx="5">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7"/>
          <c:min val="2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1CF0E8-E312-477D-A9E2-B549CE683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BF7CCA-72D2-44BB-A6A1-91DB4C4E8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174D1A-7F88-4D09-A61F-8C8C19272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AF9D2B-9D0E-425A-8990-D43D049D8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BF1C3A-74E5-4B5A-BFBD-5749823A2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30ECD12-E7B0-413C-98F1-3493D3EC6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BE5F70-58F0-4ACE-B09F-2321C3516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A95821-F395-410D-9F17-6507030FB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3.84870000000001</c:v>
                </c:pt>
                <c:pt idx="1">
                  <c:v>283.44630000000001</c:v>
                </c:pt>
                <c:pt idx="2">
                  <c:v>571.76430000000005</c:v>
                </c:pt>
              </c:numCache>
            </c:numRef>
          </c:xVal>
          <c:yVal>
            <c:numRef>
              <c:f>Sheet1!$B$2:$B$4</c:f>
              <c:numCache>
                <c:formatCode>General</c:formatCode>
                <c:ptCount val="3"/>
                <c:pt idx="0">
                  <c:v>0.91800000000000004</c:v>
                </c:pt>
                <c:pt idx="1">
                  <c:v>1.044</c:v>
                </c:pt>
                <c:pt idx="2">
                  <c:v>4.298</c:v>
                </c:pt>
              </c:numCache>
            </c:numRef>
          </c:yVal>
          <c:bubbleSize>
            <c:numRef>
              <c:f>Sheet1!$C$2:$C$4</c:f>
              <c:numCache>
                <c:formatCode>General</c:formatCode>
                <c:ptCount val="3"/>
                <c:pt idx="0">
                  <c:v>10676902</c:v>
                </c:pt>
                <c:pt idx="1">
                  <c:v>8636891</c:v>
                </c:pt>
                <c:pt idx="2">
                  <c:v>909677</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6"/>
          <c:min val="2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602B76-6BCB-4461-9825-8CE326565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D84C09-3058-4124-B484-4DEB2C27B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806B41-3D87-4F7A-B538-300B5A520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A9E949-546C-4F24-AA27-64F32C4E1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B14050-2F6C-45F7-9692-F9CCFEEEC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EB5829-3C7C-4E8E-99D0-029B5F158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EC1B3A-EC94-482D-99E9-B62F1840B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99945C-2A01-4E49-A892-387ED2F5B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23360000000002</c:v>
                </c:pt>
                <c:pt idx="1">
                  <c:v>557.1028</c:v>
                </c:pt>
                <c:pt idx="2">
                  <c:v>292.4117</c:v>
                </c:pt>
                <c:pt idx="3">
                  <c:v>231.82900000000001</c:v>
                </c:pt>
                <c:pt idx="4">
                  <c:v>368.9119</c:v>
                </c:pt>
                <c:pt idx="5">
                  <c:v>83.235799999999998</c:v>
                </c:pt>
                <c:pt idx="6">
                  <c:v>503.93599999999998</c:v>
                </c:pt>
                <c:pt idx="7">
                  <c:v>75.475399999999993</c:v>
                </c:pt>
              </c:numCache>
            </c:numRef>
          </c:xVal>
          <c:yVal>
            <c:numRef>
              <c:f>Sheet1!$B$2:$B$9</c:f>
              <c:numCache>
                <c:formatCode>General</c:formatCode>
                <c:ptCount val="8"/>
                <c:pt idx="0">
                  <c:v>1.244</c:v>
                </c:pt>
                <c:pt idx="1">
                  <c:v>5.6130000000000004</c:v>
                </c:pt>
                <c:pt idx="2">
                  <c:v>1.6160000000000001</c:v>
                </c:pt>
                <c:pt idx="3">
                  <c:v>0.53200000000000003</c:v>
                </c:pt>
                <c:pt idx="4">
                  <c:v>3.093</c:v>
                </c:pt>
                <c:pt idx="5">
                  <c:v>0.32300000000000001</c:v>
                </c:pt>
                <c:pt idx="6">
                  <c:v>3.5339999999999998</c:v>
                </c:pt>
                <c:pt idx="7">
                  <c:v>0.30399999999999999</c:v>
                </c:pt>
              </c:numCache>
            </c:numRef>
          </c:yVal>
          <c:bubbleSize>
            <c:numRef>
              <c:f>Sheet1!$C$2:$C$9</c:f>
              <c:numCache>
                <c:formatCode>General</c:formatCode>
                <c:ptCount val="8"/>
                <c:pt idx="0">
                  <c:v>43147779</c:v>
                </c:pt>
                <c:pt idx="1">
                  <c:v>21833973</c:v>
                </c:pt>
                <c:pt idx="2">
                  <c:v>19050625</c:v>
                </c:pt>
                <c:pt idx="3">
                  <c:v>18901019</c:v>
                </c:pt>
                <c:pt idx="4">
                  <c:v>13538697</c:v>
                </c:pt>
                <c:pt idx="5">
                  <c:v>9482301</c:v>
                </c:pt>
                <c:pt idx="6">
                  <c:v>6103673</c:v>
                </c:pt>
                <c:pt idx="7">
                  <c:v>3693466</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J&amp;J</c:v>
                  </c:pt>
                  <c:pt idx="3">
                    <c:v>Edgewell</c:v>
                  </c:pt>
                  <c:pt idx="4">
                    <c:v>L'Oreal</c:v>
                  </c:pt>
                  <c:pt idx="5">
                    <c:v>Total Care De Mexico</c:v>
                  </c:pt>
                  <c:pt idx="6">
                    <c:v>Pierre Fabre</c:v>
                  </c:pt>
                  <c:pt idx="7">
                    <c:v>Inds.Lavin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9"/>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EE255D-EF87-44FD-8D07-A677E03B7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B726F9-5A8F-4C1C-9F0F-5AB3993E9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F6501B-6A9A-4F16-A2C9-E86F483C0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3B3AB3-98B7-4367-B02E-CE8CFFA04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7F9D6C-8DDE-4D6E-975C-467D341DB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9DF855E-A6F4-44A3-83B1-AAD787EAF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924418C-395A-4583-804B-84E3E5CE9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BFF3774-D5B1-4D31-8CFE-1627F063A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5.18299999999999</c:v>
                </c:pt>
                <c:pt idx="1">
                  <c:v>231.60290000000001</c:v>
                </c:pt>
                <c:pt idx="2">
                  <c:v>290.23829999999998</c:v>
                </c:pt>
                <c:pt idx="3">
                  <c:v>488.51229999999998</c:v>
                </c:pt>
              </c:numCache>
            </c:numRef>
          </c:xVal>
          <c:yVal>
            <c:numRef>
              <c:f>Sheet1!$B$2:$B$5</c:f>
              <c:numCache>
                <c:formatCode>General</c:formatCode>
                <c:ptCount val="4"/>
                <c:pt idx="0">
                  <c:v>0.88400000000000001</c:v>
                </c:pt>
                <c:pt idx="1">
                  <c:v>0.96799999999999997</c:v>
                </c:pt>
                <c:pt idx="2">
                  <c:v>4.79</c:v>
                </c:pt>
                <c:pt idx="3">
                  <c:v>2.99</c:v>
                </c:pt>
              </c:numCache>
            </c:numRef>
          </c:yVal>
          <c:bubbleSize>
            <c:numRef>
              <c:f>Sheet1!$C$2:$C$5</c:f>
              <c:numCache>
                <c:formatCode>General</c:formatCode>
                <c:ptCount val="4"/>
                <c:pt idx="0">
                  <c:v>27437069</c:v>
                </c:pt>
                <c:pt idx="1">
                  <c:v>19954208</c:v>
                </c:pt>
                <c:pt idx="2">
                  <c:v>4268244</c:v>
                </c:pt>
                <c:pt idx="3">
                  <c:v>635066</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pt idx="3">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86"/>
          <c:min val="1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696029-5D44-4D5E-ACAD-E37B3C698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BF2E3B-AC5F-4C72-9CD8-666F1865D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0CF8D8-D7FC-4800-A7B7-4F1F89B71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F530CA-F0A3-4376-B6DE-94FA912B2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CC1CF5-5F90-4627-9E93-2841BED00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865006-9C66-4DB3-A55D-0C56FDDE7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C3E0847-81F4-4EEA-B1E4-00347E61A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3DA72A5-AC2F-48CD-A404-D6F4098AC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98.26280000000003</c:v>
                </c:pt>
                <c:pt idx="1">
                  <c:v>568.3691</c:v>
                </c:pt>
                <c:pt idx="2">
                  <c:v>524.53020000000004</c:v>
                </c:pt>
                <c:pt idx="3">
                  <c:v>135.13300000000001</c:v>
                </c:pt>
                <c:pt idx="4">
                  <c:v>484.17680000000001</c:v>
                </c:pt>
                <c:pt idx="5">
                  <c:v>503.7749</c:v>
                </c:pt>
              </c:numCache>
            </c:numRef>
          </c:xVal>
          <c:yVal>
            <c:numRef>
              <c:f>Sheet1!$B$2:$B$7</c:f>
              <c:numCache>
                <c:formatCode>General</c:formatCode>
                <c:ptCount val="6"/>
                <c:pt idx="0">
                  <c:v>0.99199999999999999</c:v>
                </c:pt>
                <c:pt idx="1">
                  <c:v>1.3979999999999999</c:v>
                </c:pt>
                <c:pt idx="2">
                  <c:v>6.2510000000000003</c:v>
                </c:pt>
                <c:pt idx="3">
                  <c:v>0.30199999999999999</c:v>
                </c:pt>
                <c:pt idx="4">
                  <c:v>17.97</c:v>
                </c:pt>
                <c:pt idx="5">
                  <c:v>3.1840000000000002</c:v>
                </c:pt>
              </c:numCache>
            </c:numRef>
          </c:yVal>
          <c:bubbleSize>
            <c:numRef>
              <c:f>Sheet1!$C$2:$C$7</c:f>
              <c:numCache>
                <c:formatCode>General</c:formatCode>
                <c:ptCount val="6"/>
                <c:pt idx="0">
                  <c:v>17955419</c:v>
                </c:pt>
                <c:pt idx="1">
                  <c:v>4669152</c:v>
                </c:pt>
                <c:pt idx="2">
                  <c:v>2022064</c:v>
                </c:pt>
                <c:pt idx="3">
                  <c:v>1605920</c:v>
                </c:pt>
                <c:pt idx="4">
                  <c:v>635240</c:v>
                </c:pt>
                <c:pt idx="5">
                  <c:v>393952</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L'Oreal</c:v>
                  </c:pt>
                  <c:pt idx="3">
                    <c:v>Edgewell</c:v>
                  </c:pt>
                  <c:pt idx="4">
                    <c:v>Bioderma</c:v>
                  </c:pt>
                  <c:pt idx="5">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2"/>
          <c:min val="10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173A36-EACA-4113-870E-16F86B3DB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F29BB3-84BD-4D9E-8340-82206C270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D6155B-6642-408F-84CD-B6B2DAACC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E5F017-4EA1-4A39-96AA-9156005DE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36439A-5367-47C7-90E1-376073629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0E0116E-1116-45CA-A2B1-B1907616B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AD4DB4-2FA8-4B87-A16D-D487E2B75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19C5CA2-C2FD-4934-B7E9-4BB108887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28.62750000000005</c:v>
                </c:pt>
                <c:pt idx="1">
                  <c:v>549.80380000000002</c:v>
                </c:pt>
                <c:pt idx="2">
                  <c:v>293.62630000000001</c:v>
                </c:pt>
                <c:pt idx="3">
                  <c:v>529.0403</c:v>
                </c:pt>
                <c:pt idx="4">
                  <c:v>362.66230000000002</c:v>
                </c:pt>
              </c:numCache>
            </c:numRef>
          </c:xVal>
          <c:yVal>
            <c:numRef>
              <c:f>Sheet1!$B$2:$B$6</c:f>
              <c:numCache>
                <c:formatCode>General</c:formatCode>
                <c:ptCount val="5"/>
                <c:pt idx="0">
                  <c:v>1.0289999999999999</c:v>
                </c:pt>
                <c:pt idx="1">
                  <c:v>1.105</c:v>
                </c:pt>
                <c:pt idx="2">
                  <c:v>0.67400000000000004</c:v>
                </c:pt>
                <c:pt idx="3">
                  <c:v>1.228</c:v>
                </c:pt>
                <c:pt idx="4">
                  <c:v>1.175</c:v>
                </c:pt>
              </c:numCache>
            </c:numRef>
          </c:yVal>
          <c:bubbleSize>
            <c:numRef>
              <c:f>Sheet1!$C$2:$C$6</c:f>
              <c:numCache>
                <c:formatCode>General</c:formatCode>
                <c:ptCount val="5"/>
                <c:pt idx="0">
                  <c:v>8379275</c:v>
                </c:pt>
                <c:pt idx="1">
                  <c:v>5299559</c:v>
                </c:pt>
                <c:pt idx="2">
                  <c:v>3320914</c:v>
                </c:pt>
                <c:pt idx="3">
                  <c:v>2663718</c:v>
                </c:pt>
                <c:pt idx="4">
                  <c:v>803297</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Beiersdorf</c:v>
                  </c:pt>
                  <c:pt idx="3">
                    <c:v>Pierre Fabre</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0"/>
          <c:min val="23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C933CD-9262-4DA5-9B2D-830C8DE1D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5D8F8A-BAF7-4F2C-834B-D8C1DA5ED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C9B440-F430-4AFD-853A-CD58CC6AA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7AC5AA-43A4-4935-A407-E991E1B11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09B89F6-3971-4326-AC5E-BB752B697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A56DF41-7C1D-4BE8-BB09-0310B7973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3B6980A-CBB3-4B7C-96CD-E4234F796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7C289A-D282-4826-B1C8-DB34020FE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0.85929999999999</c:v>
                </c:pt>
                <c:pt idx="1">
                  <c:v>291.46960000000001</c:v>
                </c:pt>
                <c:pt idx="2">
                  <c:v>565.61289999999997</c:v>
                </c:pt>
                <c:pt idx="3">
                  <c:v>670.11059999999998</c:v>
                </c:pt>
              </c:numCache>
            </c:numRef>
          </c:xVal>
          <c:yVal>
            <c:numRef>
              <c:f>Sheet1!$B$2:$B$5</c:f>
              <c:numCache>
                <c:formatCode>General</c:formatCode>
                <c:ptCount val="4"/>
                <c:pt idx="0">
                  <c:v>0.85</c:v>
                </c:pt>
                <c:pt idx="1">
                  <c:v>1.0469999999999999</c:v>
                </c:pt>
                <c:pt idx="2">
                  <c:v>4.1340000000000003</c:v>
                </c:pt>
                <c:pt idx="3">
                  <c:v>2.5720000000000001</c:v>
                </c:pt>
              </c:numCache>
            </c:numRef>
          </c:yVal>
          <c:bubbleSize>
            <c:numRef>
              <c:f>Sheet1!$C$2:$C$5</c:f>
              <c:numCache>
                <c:formatCode>General</c:formatCode>
                <c:ptCount val="4"/>
                <c:pt idx="0">
                  <c:v>8342885</c:v>
                </c:pt>
                <c:pt idx="1">
                  <c:v>4499124</c:v>
                </c:pt>
                <c:pt idx="2">
                  <c:v>914596</c:v>
                </c:pt>
                <c:pt idx="3">
                  <c:v>478459</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Isdin</c:v>
                  </c:pt>
                  <c:pt idx="3">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4"/>
          <c:min val="19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62903A-F263-4072-9F26-E238D98F1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B80357-9BBD-4983-AA1E-D10BAF03A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BC3580-6076-4691-A367-63CD0228B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120517-D9E7-496B-BBBD-CAD8A6CAE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958BA1-441A-459A-B938-6E2000DBD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B97730-CD00-4F69-B9BA-4F10D1333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18D2A8-B511-4A71-91F9-51D9204A4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EA8503-9570-49FC-8720-81B2D1FDE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6.8424</c:v>
                </c:pt>
                <c:pt idx="1">
                  <c:v>237.46279999999999</c:v>
                </c:pt>
                <c:pt idx="2">
                  <c:v>280.85379999999998</c:v>
                </c:pt>
                <c:pt idx="3">
                  <c:v>87.3857</c:v>
                </c:pt>
                <c:pt idx="4">
                  <c:v>79.212199999999996</c:v>
                </c:pt>
                <c:pt idx="5">
                  <c:v>210.96190000000001</c:v>
                </c:pt>
                <c:pt idx="6">
                  <c:v>609.80110000000002</c:v>
                </c:pt>
                <c:pt idx="7">
                  <c:v>314.01530000000002</c:v>
                </c:pt>
              </c:numCache>
            </c:numRef>
          </c:xVal>
          <c:yVal>
            <c:numRef>
              <c:f>Sheet1!$B$2:$B$9</c:f>
              <c:numCache>
                <c:formatCode>General</c:formatCode>
                <c:ptCount val="8"/>
                <c:pt idx="0">
                  <c:v>1.502</c:v>
                </c:pt>
                <c:pt idx="1">
                  <c:v>0.82199999999999995</c:v>
                </c:pt>
                <c:pt idx="2">
                  <c:v>2.1349999999999998</c:v>
                </c:pt>
                <c:pt idx="3">
                  <c:v>0.49099999999999999</c:v>
                </c:pt>
                <c:pt idx="4">
                  <c:v>0.46500000000000002</c:v>
                </c:pt>
                <c:pt idx="5">
                  <c:v>4.0359999999999996</c:v>
                </c:pt>
                <c:pt idx="6">
                  <c:v>12.891</c:v>
                </c:pt>
                <c:pt idx="7">
                  <c:v>2.7770000000000001</c:v>
                </c:pt>
              </c:numCache>
            </c:numRef>
          </c:yVal>
          <c:bubbleSize>
            <c:numRef>
              <c:f>Sheet1!$C$2:$C$9</c:f>
              <c:numCache>
                <c:formatCode>General</c:formatCode>
                <c:ptCount val="8"/>
                <c:pt idx="0">
                  <c:v>39983973</c:v>
                </c:pt>
                <c:pt idx="1">
                  <c:v>23304363</c:v>
                </c:pt>
                <c:pt idx="2">
                  <c:v>12857206</c:v>
                </c:pt>
                <c:pt idx="3">
                  <c:v>10153173</c:v>
                </c:pt>
                <c:pt idx="4">
                  <c:v>7336634</c:v>
                </c:pt>
                <c:pt idx="5">
                  <c:v>3409356</c:v>
                </c:pt>
                <c:pt idx="6">
                  <c:v>1489744</c:v>
                </c:pt>
                <c:pt idx="7">
                  <c:v>1294999</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Total Care De Mexico</c:v>
                  </c:pt>
                  <c:pt idx="4">
                    <c:v>Inds.Lavin De Mexico</c:v>
                  </c:pt>
                  <c:pt idx="5">
                    <c:v>L'Oreal</c:v>
                  </c:pt>
                  <c:pt idx="6">
                    <c:v>Isdin</c:v>
                  </c:pt>
                  <c:pt idx="7">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2"/>
          <c:min val="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4CB517-8C9D-47C7-BDCF-967269D3C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B28906-1CC7-4A7F-B91D-27BE66F13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B5422A-AF35-44D4-86F5-FCDDE1592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9A6D8E-802E-441A-BD74-165664B47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4045D6C-8CCD-4022-BA9D-A6AFFA6E3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913AE8-1D6E-47C8-BBD2-F425C7B60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ACFAE1-EA1D-4308-B208-3213AB222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73072B-CB42-4694-BC94-2910E67C7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8.95079999999999</c:v>
                </c:pt>
                <c:pt idx="1">
                  <c:v>190.9768</c:v>
                </c:pt>
                <c:pt idx="2">
                  <c:v>247.70150000000001</c:v>
                </c:pt>
                <c:pt idx="3">
                  <c:v>241.49350000000001</c:v>
                </c:pt>
              </c:numCache>
            </c:numRef>
          </c:xVal>
          <c:yVal>
            <c:numRef>
              <c:f>Sheet1!$B$2:$B$5</c:f>
              <c:numCache>
                <c:formatCode>General</c:formatCode>
                <c:ptCount val="4"/>
                <c:pt idx="0">
                  <c:v>1.0109999999999999</c:v>
                </c:pt>
                <c:pt idx="1">
                  <c:v>0.92</c:v>
                </c:pt>
                <c:pt idx="2">
                  <c:v>4.9450000000000003</c:v>
                </c:pt>
                <c:pt idx="3">
                  <c:v>0.90800000000000003</c:v>
                </c:pt>
              </c:numCache>
            </c:numRef>
          </c:yVal>
          <c:bubbleSize>
            <c:numRef>
              <c:f>Sheet1!$C$2:$C$5</c:f>
              <c:numCache>
                <c:formatCode>General</c:formatCode>
                <c:ptCount val="4"/>
                <c:pt idx="0">
                  <c:v>34329797</c:v>
                </c:pt>
                <c:pt idx="1">
                  <c:v>28843604</c:v>
                </c:pt>
                <c:pt idx="2">
                  <c:v>2840888</c:v>
                </c:pt>
                <c:pt idx="3">
                  <c:v>701297</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L'Oreal</c:v>
                  </c:pt>
                  <c:pt idx="3">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15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65C9C6-A5EA-488E-B52C-DA03C4D51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E0C025-D8BD-4017-A31F-6CF7024C6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BDE0B9-CF33-48A9-ABBD-8DB25402A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B90043B-4EB3-4FE9-A38E-00D3D9F8F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39272F3-A96E-4F04-9B22-D66A02058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FB1068B-5293-446A-905F-C35AA5917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C7A425-4593-4E1C-B3D2-59A2ACD38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CA71D8D-0243-4587-87FE-A0806E6CC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50.6369</c:v>
                </c:pt>
                <c:pt idx="1">
                  <c:v>144.11410000000001</c:v>
                </c:pt>
                <c:pt idx="2">
                  <c:v>598.67769999999996</c:v>
                </c:pt>
              </c:numCache>
            </c:numRef>
          </c:xVal>
          <c:yVal>
            <c:numRef>
              <c:f>Sheet1!$B$2:$B$4</c:f>
              <c:numCache>
                <c:formatCode>General</c:formatCode>
                <c:ptCount val="3"/>
                <c:pt idx="0">
                  <c:v>1.2529999999999999</c:v>
                </c:pt>
                <c:pt idx="1">
                  <c:v>0.498</c:v>
                </c:pt>
                <c:pt idx="2">
                  <c:v>2.25</c:v>
                </c:pt>
              </c:numCache>
            </c:numRef>
          </c:yVal>
          <c:bubbleSize>
            <c:numRef>
              <c:f>Sheet1!$C$2:$C$4</c:f>
              <c:numCache>
                <c:formatCode>General</c:formatCode>
                <c:ptCount val="3"/>
                <c:pt idx="0">
                  <c:v>21111396</c:v>
                </c:pt>
                <c:pt idx="1">
                  <c:v>4165474</c:v>
                </c:pt>
                <c:pt idx="2">
                  <c:v>705841</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FEFEC5-020E-4ED1-9981-12C862092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6DEDFC-AC09-46CD-B733-0113F3004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D2C102-EBBB-4DC7-B7F0-41DCB7765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90B59F-7669-4871-90A7-35178A4B5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6B4455-07A5-4504-925D-F264C3F5B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DBC168-9423-4511-A69B-12A62D44B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4B38C1-7289-47A8-8D64-1C5029CD9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A8A3A5-4DF6-4771-8981-559B14858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51070000000001</c:v>
                </c:pt>
                <c:pt idx="1">
                  <c:v>219.06989999999999</c:v>
                </c:pt>
                <c:pt idx="2">
                  <c:v>246.83260000000001</c:v>
                </c:pt>
                <c:pt idx="3">
                  <c:v>295.54790000000003</c:v>
                </c:pt>
                <c:pt idx="4">
                  <c:v>600.36440000000005</c:v>
                </c:pt>
                <c:pt idx="5">
                  <c:v>80.922499999999999</c:v>
                </c:pt>
                <c:pt idx="6">
                  <c:v>559.72159999999997</c:v>
                </c:pt>
                <c:pt idx="7">
                  <c:v>222.31460000000001</c:v>
                </c:pt>
              </c:numCache>
            </c:numRef>
          </c:xVal>
          <c:yVal>
            <c:numRef>
              <c:f>Sheet1!$B$2:$B$9</c:f>
              <c:numCache>
                <c:formatCode>General</c:formatCode>
                <c:ptCount val="8"/>
                <c:pt idx="0">
                  <c:v>1.089</c:v>
                </c:pt>
                <c:pt idx="1">
                  <c:v>0.79900000000000004</c:v>
                </c:pt>
                <c:pt idx="2">
                  <c:v>0.82899999999999996</c:v>
                </c:pt>
                <c:pt idx="3">
                  <c:v>2.1309999999999998</c:v>
                </c:pt>
                <c:pt idx="4">
                  <c:v>4.4080000000000004</c:v>
                </c:pt>
                <c:pt idx="5">
                  <c:v>0.42199999999999999</c:v>
                </c:pt>
                <c:pt idx="6">
                  <c:v>7.7270000000000003</c:v>
                </c:pt>
                <c:pt idx="7">
                  <c:v>2.75</c:v>
                </c:pt>
              </c:numCache>
            </c:numRef>
          </c:yVal>
          <c:bubbleSize>
            <c:numRef>
              <c:f>Sheet1!$C$2:$C$9</c:f>
              <c:numCache>
                <c:formatCode>General</c:formatCode>
                <c:ptCount val="8"/>
                <c:pt idx="0">
                  <c:v>68815552</c:v>
                </c:pt>
                <c:pt idx="1">
                  <c:v>31676853</c:v>
                </c:pt>
                <c:pt idx="2">
                  <c:v>30151588</c:v>
                </c:pt>
                <c:pt idx="3">
                  <c:v>9309759</c:v>
                </c:pt>
                <c:pt idx="4">
                  <c:v>5824135</c:v>
                </c:pt>
                <c:pt idx="5">
                  <c:v>5507100</c:v>
                </c:pt>
                <c:pt idx="6">
                  <c:v>3172502</c:v>
                </c:pt>
                <c:pt idx="7">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6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F2487A-DB0A-41F0-98B5-6342222A0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96CEDA-6AE7-4535-B2C8-50B5A37D7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074469-903C-4112-BAC5-6228758C1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4AADE0-FBC7-452A-B3E2-48F52B62B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0446B6-5BAB-4158-91A8-C0AB4E5FD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6D145F-4873-4C6B-80F0-BA15E44EE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C56E8E6-6AFC-4B85-9D30-3F9908D62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DD120A-0CAA-45BC-9507-64FA01D10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6.2998</c:v>
                </c:pt>
                <c:pt idx="1">
                  <c:v>617.13969999999995</c:v>
                </c:pt>
                <c:pt idx="2">
                  <c:v>530.04229999999995</c:v>
                </c:pt>
                <c:pt idx="3">
                  <c:v>298.69970000000001</c:v>
                </c:pt>
                <c:pt idx="4">
                  <c:v>261.82249999999999</c:v>
                </c:pt>
                <c:pt idx="5">
                  <c:v>609.02700000000004</c:v>
                </c:pt>
              </c:numCache>
            </c:numRef>
          </c:xVal>
          <c:yVal>
            <c:numRef>
              <c:f>Sheet1!$B$2:$B$7</c:f>
              <c:numCache>
                <c:formatCode>General</c:formatCode>
                <c:ptCount val="6"/>
                <c:pt idx="0">
                  <c:v>0.74099999999999999</c:v>
                </c:pt>
                <c:pt idx="1">
                  <c:v>12.285</c:v>
                </c:pt>
                <c:pt idx="2">
                  <c:v>3.6560000000000001</c:v>
                </c:pt>
                <c:pt idx="3">
                  <c:v>1.4490000000000001</c:v>
                </c:pt>
                <c:pt idx="4">
                  <c:v>0.60399999999999998</c:v>
                </c:pt>
                <c:pt idx="5">
                  <c:v>0</c:v>
                </c:pt>
              </c:numCache>
            </c:numRef>
          </c:yVal>
          <c:bubbleSize>
            <c:numRef>
              <c:f>Sheet1!$C$2:$C$7</c:f>
              <c:numCache>
                <c:formatCode>General</c:formatCode>
                <c:ptCount val="6"/>
                <c:pt idx="0">
                  <c:v>2030536</c:v>
                </c:pt>
                <c:pt idx="1">
                  <c:v>560980</c:v>
                </c:pt>
                <c:pt idx="2">
                  <c:v>200356</c:v>
                </c:pt>
                <c:pt idx="3">
                  <c:v>172051</c:v>
                </c:pt>
                <c:pt idx="4">
                  <c:v>104729</c:v>
                </c:pt>
                <c:pt idx="5">
                  <c:v>67602</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L'Oreal</c:v>
                  </c:pt>
                  <c:pt idx="3">
                    <c:v>Bioderma</c:v>
                  </c:pt>
                  <c:pt idx="4">
                    <c:v>Edgewell</c:v>
                  </c:pt>
                  <c:pt idx="5">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1"/>
          <c:min val="2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5F14F0-9BFC-4486-B4A1-2649116CC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33E6D7-7C3F-415C-AB50-E59E68BFC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1D57474-AFF9-4F00-B3ED-7F1790D30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929CC8C-F3A0-43CD-9088-449F91D54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303A02-2546-4C7C-B01D-E1CD03322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2FF13E4-BEC7-47B0-9C73-81A7634CB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3C1999-4260-4EB1-928A-43866EDA5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37D7F55-67C7-4054-9CEC-704CF83EF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0.97710000000001</c:v>
                </c:pt>
                <c:pt idx="1">
                  <c:v>285.03530000000001</c:v>
                </c:pt>
              </c:numCache>
            </c:numRef>
          </c:xVal>
          <c:yVal>
            <c:numRef>
              <c:f>Sheet1!$B$2:$B$3</c:f>
              <c:numCache>
                <c:formatCode>General</c:formatCode>
                <c:ptCount val="2"/>
                <c:pt idx="0">
                  <c:v>0.96299999999999997</c:v>
                </c:pt>
                <c:pt idx="1">
                  <c:v>1.046</c:v>
                </c:pt>
              </c:numCache>
            </c:numRef>
          </c:yVal>
          <c:bubbleSize>
            <c:numRef>
              <c:f>Sheet1!$C$2:$C$3</c:f>
              <c:numCache>
                <c:formatCode>General</c:formatCode>
                <c:ptCount val="2"/>
                <c:pt idx="0">
                  <c:v>17806465</c:v>
                </c:pt>
                <c:pt idx="1">
                  <c:v>12682360</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
          <c:min val="2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6570C8-259C-4970-B519-ABC2A9A53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0AB192-2E66-4ABE-BFA6-32ED7CC57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85669E-430E-4F90-AFCB-82B25ACD3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552B40-1F51-4193-8455-29090A7F3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C1D5D8-2CA2-44E6-8501-BBB4D7534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6DDA46-89B3-45CC-9038-92721D682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6B7B758-C1A7-4215-884F-484B43665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72A363-E649-46EA-92DC-A53C36890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0690000000001</c:v>
                </c:pt>
                <c:pt idx="1">
                  <c:v>236.88120000000001</c:v>
                </c:pt>
                <c:pt idx="2">
                  <c:v>289.0043</c:v>
                </c:pt>
                <c:pt idx="3">
                  <c:v>84.956999999999994</c:v>
                </c:pt>
                <c:pt idx="4">
                  <c:v>601.13319999999999</c:v>
                </c:pt>
                <c:pt idx="5">
                  <c:v>77.155699999999996</c:v>
                </c:pt>
                <c:pt idx="6">
                  <c:v>285.60640000000001</c:v>
                </c:pt>
                <c:pt idx="7">
                  <c:v>335.30849999999998</c:v>
                </c:pt>
              </c:numCache>
            </c:numRef>
          </c:xVal>
          <c:yVal>
            <c:numRef>
              <c:f>Sheet1!$B$2:$B$9</c:f>
              <c:numCache>
                <c:formatCode>General</c:formatCode>
                <c:ptCount val="8"/>
                <c:pt idx="0">
                  <c:v>1.488</c:v>
                </c:pt>
                <c:pt idx="1">
                  <c:v>0.72099999999999997</c:v>
                </c:pt>
                <c:pt idx="2">
                  <c:v>2.0350000000000001</c:v>
                </c:pt>
                <c:pt idx="3">
                  <c:v>0.45200000000000001</c:v>
                </c:pt>
                <c:pt idx="4">
                  <c:v>8.5909999999999993</c:v>
                </c:pt>
                <c:pt idx="5">
                  <c:v>0.40400000000000003</c:v>
                </c:pt>
                <c:pt idx="6">
                  <c:v>3.89</c:v>
                </c:pt>
                <c:pt idx="7">
                  <c:v>2.4830000000000001</c:v>
                </c:pt>
              </c:numCache>
            </c:numRef>
          </c:yVal>
          <c:bubbleSize>
            <c:numRef>
              <c:f>Sheet1!$C$2:$C$9</c:f>
              <c:numCache>
                <c:formatCode>General</c:formatCode>
                <c:ptCount val="8"/>
                <c:pt idx="0">
                  <c:v>39348677</c:v>
                </c:pt>
                <c:pt idx="1">
                  <c:v>24221340</c:v>
                </c:pt>
                <c:pt idx="2">
                  <c:v>15832523</c:v>
                </c:pt>
                <c:pt idx="3">
                  <c:v>12463529</c:v>
                </c:pt>
                <c:pt idx="4">
                  <c:v>7913318</c:v>
                </c:pt>
                <c:pt idx="5">
                  <c:v>6946792</c:v>
                </c:pt>
                <c:pt idx="6">
                  <c:v>6671195</c:v>
                </c:pt>
                <c:pt idx="7">
                  <c:v>2237849</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Total Care De Mexico</c:v>
                  </c:pt>
                  <c:pt idx="4">
                    <c:v>Isdin</c:v>
                  </c:pt>
                  <c:pt idx="5">
                    <c:v>Inds.Lavin De Mexico</c:v>
                  </c:pt>
                  <c:pt idx="6">
                    <c:v>L'Oreal</c:v>
                  </c:pt>
                  <c:pt idx="7">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1"/>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7017C0-881A-4AF7-85DE-6DDA797E4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29E43F-1E0A-4A8B-9785-8B4B2F0A7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B61BE4-6157-42C8-BD85-5773C9B23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CDFFFD3-72F8-4493-879D-E41FA5553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C80CA68-8E4B-4415-A1DE-653C54862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915948-C457-4DC6-914E-89346C7F0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71A1231-415A-4EBC-A16B-4F9CA004D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1224A65-57F2-4DA1-AEC8-ED5585EE6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559</c:v>
                </c:pt>
                <c:pt idx="1">
                  <c:v>187.66499999999999</c:v>
                </c:pt>
                <c:pt idx="2">
                  <c:v>258.97129999999999</c:v>
                </c:pt>
              </c:numCache>
            </c:numRef>
          </c:xVal>
          <c:yVal>
            <c:numRef>
              <c:f>Sheet1!$B$2:$B$4</c:f>
              <c:numCache>
                <c:formatCode>General</c:formatCode>
                <c:ptCount val="3"/>
                <c:pt idx="0">
                  <c:v>0.98399999999999999</c:v>
                </c:pt>
                <c:pt idx="1">
                  <c:v>0.90500000000000003</c:v>
                </c:pt>
                <c:pt idx="2">
                  <c:v>4.6449999999999996</c:v>
                </c:pt>
              </c:numCache>
            </c:numRef>
          </c:yVal>
          <c:bubbleSize>
            <c:numRef>
              <c:f>Sheet1!$C$2:$C$4</c:f>
              <c:numCache>
                <c:formatCode>General</c:formatCode>
                <c:ptCount val="3"/>
                <c:pt idx="0">
                  <c:v>28455346</c:v>
                </c:pt>
                <c:pt idx="1">
                  <c:v>28123855</c:v>
                </c:pt>
                <c:pt idx="2">
                  <c:v>356733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1"/>
          <c:min val="1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B7B347-D437-433A-998B-4C17AFE04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B9BC2C-D858-4C62-9E29-DF106D62E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F233E5-235B-4964-A412-A04A0A6E8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FAF027-0CAC-4CE6-B370-8BC57464B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40F174-E284-4D1E-AC1A-12E6DA228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2BEAE18-2A08-46F1-825F-DA116E91A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CDEAB10-5176-489F-9DEF-ED56A7625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605245-870C-42B5-B628-24D7ED628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3.74189999999999</c:v>
                </c:pt>
                <c:pt idx="1">
                  <c:v>601.07420000000002</c:v>
                </c:pt>
                <c:pt idx="2">
                  <c:v>150.36439999999999</c:v>
                </c:pt>
                <c:pt idx="3">
                  <c:v>561.37670000000003</c:v>
                </c:pt>
                <c:pt idx="4">
                  <c:v>636.54790000000003</c:v>
                </c:pt>
              </c:numCache>
            </c:numRef>
          </c:xVal>
          <c:yVal>
            <c:numRef>
              <c:f>Sheet1!$B$2:$B$6</c:f>
              <c:numCache>
                <c:formatCode>General</c:formatCode>
                <c:ptCount val="5"/>
                <c:pt idx="0">
                  <c:v>1.089</c:v>
                </c:pt>
                <c:pt idx="1">
                  <c:v>1.7450000000000001</c:v>
                </c:pt>
                <c:pt idx="2">
                  <c:v>0.38600000000000001</c:v>
                </c:pt>
                <c:pt idx="3">
                  <c:v>8.3339999999999996</c:v>
                </c:pt>
                <c:pt idx="4">
                  <c:v>0</c:v>
                </c:pt>
              </c:numCache>
            </c:numRef>
          </c:yVal>
          <c:bubbleSize>
            <c:numRef>
              <c:f>Sheet1!$C$2:$C$6</c:f>
              <c:numCache>
                <c:formatCode>General</c:formatCode>
                <c:ptCount val="5"/>
                <c:pt idx="0">
                  <c:v>17917777</c:v>
                </c:pt>
                <c:pt idx="1">
                  <c:v>3238588</c:v>
                </c:pt>
                <c:pt idx="2">
                  <c:v>2349443</c:v>
                </c:pt>
                <c:pt idx="3">
                  <c:v>798839</c:v>
                </c:pt>
                <c:pt idx="4">
                  <c:v>278808</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Edgewell</c:v>
                  </c:pt>
                  <c:pt idx="3">
                    <c:v>L'Oreal</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4"/>
          <c:min val="1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EB3A0D-326C-4455-8A08-C61080076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236387-567C-440C-BB63-4C9F16305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7B2581-8D21-4D9F-900E-F99F10DA0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A94F28-DFD6-4070-B15F-222ED36F5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CD9883-0FD0-4E15-AD47-BB22D84BA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6A2FB7-0849-4C06-819E-4998C088B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A55119-F421-46B2-83E5-EE157785B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1B2DA4-6580-4510-A67B-23C8D921B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6.48939999999999</c:v>
                </c:pt>
                <c:pt idx="1">
                  <c:v>571.56500000000005</c:v>
                </c:pt>
                <c:pt idx="2">
                  <c:v>596.10739999999998</c:v>
                </c:pt>
                <c:pt idx="3">
                  <c:v>535.92679999999996</c:v>
                </c:pt>
                <c:pt idx="4">
                  <c:v>453.06009999999998</c:v>
                </c:pt>
              </c:numCache>
            </c:numRef>
          </c:xVal>
          <c:yVal>
            <c:numRef>
              <c:f>Sheet1!$B$2:$B$6</c:f>
              <c:numCache>
                <c:formatCode>General</c:formatCode>
                <c:ptCount val="5"/>
                <c:pt idx="0">
                  <c:v>0.627</c:v>
                </c:pt>
                <c:pt idx="1">
                  <c:v>1.087</c:v>
                </c:pt>
                <c:pt idx="2">
                  <c:v>1.258</c:v>
                </c:pt>
                <c:pt idx="3">
                  <c:v>11.086</c:v>
                </c:pt>
                <c:pt idx="4">
                  <c:v>2.2709999999999999</c:v>
                </c:pt>
              </c:numCache>
            </c:numRef>
          </c:yVal>
          <c:bubbleSize>
            <c:numRef>
              <c:f>Sheet1!$C$2:$C$6</c:f>
              <c:numCache>
                <c:formatCode>General</c:formatCode>
                <c:ptCount val="5"/>
                <c:pt idx="0">
                  <c:v>2646168</c:v>
                </c:pt>
                <c:pt idx="1">
                  <c:v>2593762</c:v>
                </c:pt>
                <c:pt idx="2">
                  <c:v>2529880</c:v>
                </c:pt>
                <c:pt idx="3">
                  <c:v>651687</c:v>
                </c:pt>
                <c:pt idx="4">
                  <c:v>347044</c:v>
                </c:pt>
              </c:numCache>
            </c:numRef>
          </c:bubbleSize>
          <c:bubble3D val="0"/>
          <c:extLst>
            <c:ext xmlns:c15="http://schemas.microsoft.com/office/drawing/2012/chart" uri="{02D57815-91ED-43cb-92C2-25804820EDAC}">
              <c15:datalabelsRange>
                <c15:f>Sheet1!$E$2:$E$10</c15:f>
                <c15:dlblRangeCache>
                  <c:ptCount val="9"/>
                  <c:pt idx="0">
                    <c:v>Beiersdorf</c:v>
                  </c:pt>
                  <c:pt idx="1">
                    <c:v>L'Oreal</c:v>
                  </c:pt>
                  <c:pt idx="2">
                    <c:v>Isdin</c:v>
                  </c:pt>
                  <c:pt idx="3">
                    <c:v>Pierre Fabre</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5"/>
          <c:min val="23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D3C9A7-EA99-48D4-A5AE-9D2776016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4188CC-1157-4D16-98BD-889BA7EC5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07D0B1-95EA-495D-B0D1-F059773C8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366F8F-E368-4A87-B3CD-C76D0D09A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CDAF657-934F-4213-AC84-193A34181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7B5609A-7830-464F-8F90-C70BF8D63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E3807A9-AE6F-419A-9E8E-67F0A9706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9A84E5-8C19-4C60-BEF4-6E4C57439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6.59019999999998</c:v>
                </c:pt>
                <c:pt idx="1">
                  <c:v>280.5788</c:v>
                </c:pt>
                <c:pt idx="2">
                  <c:v>577.60799999999995</c:v>
                </c:pt>
              </c:numCache>
            </c:numRef>
          </c:xVal>
          <c:yVal>
            <c:numRef>
              <c:f>Sheet1!$B$2:$B$4</c:f>
              <c:numCache>
                <c:formatCode>General</c:formatCode>
                <c:ptCount val="3"/>
                <c:pt idx="0">
                  <c:v>0.92700000000000005</c:v>
                </c:pt>
                <c:pt idx="1">
                  <c:v>1.022</c:v>
                </c:pt>
                <c:pt idx="2">
                  <c:v>4.3680000000000003</c:v>
                </c:pt>
              </c:numCache>
            </c:numRef>
          </c:yVal>
          <c:bubbleSize>
            <c:numRef>
              <c:f>Sheet1!$C$2:$C$4</c:f>
              <c:numCache>
                <c:formatCode>General</c:formatCode>
                <c:ptCount val="3"/>
                <c:pt idx="0">
                  <c:v>8864392</c:v>
                </c:pt>
                <c:pt idx="1">
                  <c:v>6934224</c:v>
                </c:pt>
                <c:pt idx="2">
                  <c:v>620351</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2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120BE8-3ACB-488E-8960-3C2EC499B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E545BB-50A3-4340-83E8-125DDEEDC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A2109E-E082-4A57-843F-B98F886ED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861383-7B4C-4953-97BF-247C00AFC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67B4A4-1227-4CDD-B971-BB28F1B98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26A37A-F271-4420-B5B2-FCA32BEBB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634857-777E-4058-847E-CE4A448EF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084F64-5B82-4815-ACCD-AE9EBBB41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4991</c:v>
                </c:pt>
                <c:pt idx="1">
                  <c:v>245.05619999999999</c:v>
                </c:pt>
                <c:pt idx="2">
                  <c:v>296.70359999999999</c:v>
                </c:pt>
                <c:pt idx="3">
                  <c:v>85.871499999999997</c:v>
                </c:pt>
                <c:pt idx="4">
                  <c:v>592.28729999999996</c:v>
                </c:pt>
                <c:pt idx="5">
                  <c:v>313.8777</c:v>
                </c:pt>
                <c:pt idx="6">
                  <c:v>76.301599999999993</c:v>
                </c:pt>
                <c:pt idx="7">
                  <c:v>522.04769999999996</c:v>
                </c:pt>
              </c:numCache>
            </c:numRef>
          </c:xVal>
          <c:yVal>
            <c:numRef>
              <c:f>Sheet1!$B$2:$B$9</c:f>
              <c:numCache>
                <c:formatCode>General</c:formatCode>
                <c:ptCount val="8"/>
                <c:pt idx="0">
                  <c:v>1.4930000000000001</c:v>
                </c:pt>
                <c:pt idx="1">
                  <c:v>0.73599999999999999</c:v>
                </c:pt>
                <c:pt idx="2">
                  <c:v>2.2170000000000001</c:v>
                </c:pt>
                <c:pt idx="3">
                  <c:v>0.42799999999999999</c:v>
                </c:pt>
                <c:pt idx="4">
                  <c:v>8.6219999999999999</c:v>
                </c:pt>
                <c:pt idx="5">
                  <c:v>4.0110000000000001</c:v>
                </c:pt>
                <c:pt idx="6">
                  <c:v>0.40699999999999997</c:v>
                </c:pt>
                <c:pt idx="7">
                  <c:v>5.4249999999999998</c:v>
                </c:pt>
              </c:numCache>
            </c:numRef>
          </c:yVal>
          <c:bubbleSize>
            <c:numRef>
              <c:f>Sheet1!$C$2:$C$9</c:f>
              <c:numCache>
                <c:formatCode>General</c:formatCode>
                <c:ptCount val="8"/>
                <c:pt idx="0">
                  <c:v>31815885</c:v>
                </c:pt>
                <c:pt idx="1">
                  <c:v>26558455</c:v>
                </c:pt>
                <c:pt idx="2">
                  <c:v>15085897</c:v>
                </c:pt>
                <c:pt idx="3">
                  <c:v>11365346</c:v>
                </c:pt>
                <c:pt idx="4">
                  <c:v>7846030</c:v>
                </c:pt>
                <c:pt idx="5">
                  <c:v>6050621</c:v>
                </c:pt>
                <c:pt idx="6">
                  <c:v>5048116</c:v>
                </c:pt>
                <c:pt idx="7">
                  <c:v>2330943</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Total Care De Mexico</c:v>
                  </c:pt>
                  <c:pt idx="4">
                    <c:v>Isdin</c:v>
                  </c:pt>
                  <c:pt idx="5">
                    <c:v>L'Oreal</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B74A4D-C15F-4E66-BEF9-738E7B760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FA50C0-4912-4222-BDF2-1FA73BB71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0C2219-0A5D-49AE-B58E-79B2AB3C0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188BA2C-E065-4E5E-B8DE-E24EAF2F7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9E15534-D608-40C4-860C-689F38E10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308D06-99D4-4E2C-AD64-6A749CA0A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ACCFECE-7A78-47B8-A4F5-EC9680252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A7D229-385B-4DBB-90E4-5C78423E4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6.49100000000001</c:v>
                </c:pt>
                <c:pt idx="1">
                  <c:v>229.7379</c:v>
                </c:pt>
                <c:pt idx="2">
                  <c:v>269.04419999999999</c:v>
                </c:pt>
              </c:numCache>
            </c:numRef>
          </c:xVal>
          <c:yVal>
            <c:numRef>
              <c:f>Sheet1!$B$2:$B$4</c:f>
              <c:numCache>
                <c:formatCode>General</c:formatCode>
                <c:ptCount val="3"/>
                <c:pt idx="0">
                  <c:v>0.91700000000000004</c:v>
                </c:pt>
                <c:pt idx="1">
                  <c:v>0.98399999999999999</c:v>
                </c:pt>
                <c:pt idx="2">
                  <c:v>4.6980000000000004</c:v>
                </c:pt>
              </c:numCache>
            </c:numRef>
          </c:yVal>
          <c:bubbleSize>
            <c:numRef>
              <c:f>Sheet1!$C$2:$C$4</c:f>
              <c:numCache>
                <c:formatCode>General</c:formatCode>
                <c:ptCount val="3"/>
                <c:pt idx="0">
                  <c:v>29370286</c:v>
                </c:pt>
                <c:pt idx="1">
                  <c:v>22231274</c:v>
                </c:pt>
                <c:pt idx="2">
                  <c:v>3285568</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
          <c:min val="14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145974-7E9B-4C23-887C-B2D1307DA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B2A5FE-330C-4183-B5D1-197A4BD78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809D63-0D0B-4CED-970E-4D60F21B3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E8C710-E6F2-4D3E-A9A2-18561408A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C8B3BA-8522-46AC-8BDD-17243D516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0D3892-AD07-47C9-9E2F-6542EDCB5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22F5FA-ED79-4DFB-8883-6B5D55827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33EE77-B878-4BCD-8797-85032BE71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82.09589999999997</c:v>
                </c:pt>
                <c:pt idx="1">
                  <c:v>602.28390000000002</c:v>
                </c:pt>
                <c:pt idx="2">
                  <c:v>150.8426</c:v>
                </c:pt>
                <c:pt idx="3">
                  <c:v>550.4529</c:v>
                </c:pt>
                <c:pt idx="4">
                  <c:v>610.68579999999997</c:v>
                </c:pt>
              </c:numCache>
            </c:numRef>
          </c:xVal>
          <c:yVal>
            <c:numRef>
              <c:f>Sheet1!$B$2:$B$6</c:f>
              <c:numCache>
                <c:formatCode>General</c:formatCode>
                <c:ptCount val="5"/>
                <c:pt idx="0">
                  <c:v>1.1819999999999999</c:v>
                </c:pt>
                <c:pt idx="1">
                  <c:v>1.837</c:v>
                </c:pt>
                <c:pt idx="2">
                  <c:v>0.40699999999999997</c:v>
                </c:pt>
                <c:pt idx="3">
                  <c:v>7.9</c:v>
                </c:pt>
                <c:pt idx="4">
                  <c:v>121.45</c:v>
                </c:pt>
              </c:numCache>
            </c:numRef>
          </c:yVal>
          <c:bubbleSize>
            <c:numRef>
              <c:f>Sheet1!$C$2:$C$6</c:f>
              <c:numCache>
                <c:formatCode>General</c:formatCode>
                <c:ptCount val="5"/>
                <c:pt idx="0">
                  <c:v>13057092</c:v>
                </c:pt>
                <c:pt idx="1">
                  <c:v>3118024</c:v>
                </c:pt>
                <c:pt idx="2">
                  <c:v>3018361</c:v>
                </c:pt>
                <c:pt idx="3">
                  <c:v>805863</c:v>
                </c:pt>
                <c:pt idx="4">
                  <c:v>330381</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Edgewell</c:v>
                  </c:pt>
                  <c:pt idx="3">
                    <c:v>L'Oreal</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
          <c:min val="1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77B74C4-9925-4D70-BE70-72BEBFF25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ABEACDA-E658-4817-B82C-C2FF4F552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2856EEA-1945-43F5-8335-FC912637A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246F812-F3F4-4695-819B-5AD531AA2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75979DC-8ECC-49AF-A152-235361330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A431881-694E-4FB9-B66C-04D9AB59F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0ED81ED-2BA8-4BD5-A9EB-4DE395692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25B5905-BFC8-4AFB-BE14-9F5FC3B0C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99459999999999</c:v>
                </c:pt>
                <c:pt idx="1">
                  <c:v>472.61869999999999</c:v>
                </c:pt>
                <c:pt idx="2">
                  <c:v>490.36130000000003</c:v>
                </c:pt>
                <c:pt idx="3">
                  <c:v>335.14609999999999</c:v>
                </c:pt>
                <c:pt idx="4">
                  <c:v>149.61779999999999</c:v>
                </c:pt>
                <c:pt idx="5">
                  <c:v>411.84309999999999</c:v>
                </c:pt>
                <c:pt idx="6">
                  <c:v>480.03129999999999</c:v>
                </c:pt>
                <c:pt idx="7">
                  <c:v>509.36840000000001</c:v>
                </c:pt>
              </c:numCache>
            </c:numRef>
          </c:xVal>
          <c:yVal>
            <c:numRef>
              <c:f>Sheet1!$B$2:$B$9</c:f>
              <c:numCache>
                <c:formatCode>General</c:formatCode>
                <c:ptCount val="8"/>
                <c:pt idx="0">
                  <c:v>0.94599999999999995</c:v>
                </c:pt>
                <c:pt idx="1">
                  <c:v>2.399</c:v>
                </c:pt>
                <c:pt idx="2">
                  <c:v>0</c:v>
                </c:pt>
                <c:pt idx="3">
                  <c:v>0</c:v>
                </c:pt>
                <c:pt idx="4">
                  <c:v>2.0009999999999999</c:v>
                </c:pt>
                <c:pt idx="5">
                  <c:v>5.3680000000000003</c:v>
                </c:pt>
                <c:pt idx="6">
                  <c:v>0.35699999999999998</c:v>
                </c:pt>
                <c:pt idx="7">
                  <c:v>0.35299999999999998</c:v>
                </c:pt>
              </c:numCache>
            </c:numRef>
          </c:yVal>
          <c:bubbleSize>
            <c:numRef>
              <c:f>Sheet1!$C$2:$C$9</c:f>
              <c:numCache>
                <c:formatCode>General</c:formatCode>
                <c:ptCount val="8"/>
                <c:pt idx="0">
                  <c:v>103599</c:v>
                </c:pt>
                <c:pt idx="1">
                  <c:v>65694</c:v>
                </c:pt>
                <c:pt idx="2">
                  <c:v>58353</c:v>
                </c:pt>
                <c:pt idx="3">
                  <c:v>29828</c:v>
                </c:pt>
                <c:pt idx="4">
                  <c:v>23490</c:v>
                </c:pt>
                <c:pt idx="5">
                  <c:v>21004</c:v>
                </c:pt>
                <c:pt idx="6">
                  <c:v>15361</c:v>
                </c:pt>
                <c:pt idx="7">
                  <c:v>9678</c:v>
                </c:pt>
              </c:numCache>
            </c:numRef>
          </c:bubbleSize>
          <c:bubble3D val="0"/>
          <c:extLst>
            <c:ext xmlns:c15="http://schemas.microsoft.com/office/drawing/2012/chart" uri="{02D57815-91ED-43cb-92C2-25804820EDAC}">
              <c15:datalabelsRange>
                <c15:f>Sheet1!$E$2:$E$10</c15:f>
                <c15:dlblRangeCache>
                  <c:ptCount val="9"/>
                  <c:pt idx="0">
                    <c:v>Eclipsol</c:v>
                  </c:pt>
                  <c:pt idx="1">
                    <c:v>Eucerin</c:v>
                  </c:pt>
                  <c:pt idx="2">
                    <c:v>Avene</c:v>
                  </c:pt>
                  <c:pt idx="3">
                    <c:v>La Roche-Posay</c:v>
                  </c:pt>
                  <c:pt idx="4">
                    <c:v>Neutrogena</c:v>
                  </c:pt>
                  <c:pt idx="5">
                    <c:v>Vichy</c:v>
                  </c:pt>
                  <c:pt idx="6">
                    <c:v>Nivea</c:v>
                  </c:pt>
                  <c:pt idx="7">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2"/>
          <c:min val="1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DA33BD-1E2C-40AC-97D3-5B5DB998E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38D82B-0354-43C0-AF16-70183AF75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180344-FF3E-4665-B09F-95B98D686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667FEA-9A32-4948-BCD8-6846FF532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FACA89-8F1F-4E1F-9389-0271BCE48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A2886A-E089-4E87-B39D-3968167D0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DD60D4-E8F1-4597-B255-FEE8629AB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86CE731-6688-4C77-97C9-90988A8B2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64.37270000000001</c:v>
                </c:pt>
                <c:pt idx="1">
                  <c:v>591.35900000000004</c:v>
                </c:pt>
                <c:pt idx="2">
                  <c:v>292.46319999999997</c:v>
                </c:pt>
                <c:pt idx="3">
                  <c:v>539.03449999999998</c:v>
                </c:pt>
                <c:pt idx="4">
                  <c:v>376.23899999999998</c:v>
                </c:pt>
                <c:pt idx="5">
                  <c:v>276.94459999999998</c:v>
                </c:pt>
              </c:numCache>
            </c:numRef>
          </c:xVal>
          <c:yVal>
            <c:numRef>
              <c:f>Sheet1!$B$2:$B$7</c:f>
              <c:numCache>
                <c:formatCode>General</c:formatCode>
                <c:ptCount val="6"/>
                <c:pt idx="0">
                  <c:v>1.0669999999999999</c:v>
                </c:pt>
                <c:pt idx="1">
                  <c:v>1.3049999999999999</c:v>
                </c:pt>
                <c:pt idx="2">
                  <c:v>0.60299999999999998</c:v>
                </c:pt>
                <c:pt idx="3">
                  <c:v>5.0369999999999999</c:v>
                </c:pt>
                <c:pt idx="4">
                  <c:v>1.4079999999999999</c:v>
                </c:pt>
                <c:pt idx="5">
                  <c:v>0.54100000000000004</c:v>
                </c:pt>
              </c:numCache>
            </c:numRef>
          </c:yVal>
          <c:bubbleSize>
            <c:numRef>
              <c:f>Sheet1!$C$2:$C$7</c:f>
              <c:numCache>
                <c:formatCode>General</c:formatCode>
                <c:ptCount val="6"/>
                <c:pt idx="0">
                  <c:v>2382217</c:v>
                </c:pt>
                <c:pt idx="1">
                  <c:v>2325815</c:v>
                </c:pt>
                <c:pt idx="2">
                  <c:v>2206050</c:v>
                </c:pt>
                <c:pt idx="3">
                  <c:v>717994</c:v>
                </c:pt>
                <c:pt idx="4">
                  <c:v>401447</c:v>
                </c:pt>
                <c:pt idx="5">
                  <c:v>90007</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Beiersdorf</c:v>
                  </c:pt>
                  <c:pt idx="3">
                    <c:v>Pierre Fabre</c:v>
                  </c:pt>
                  <c:pt idx="4">
                    <c:v>Bioderma</c:v>
                  </c:pt>
                  <c:pt idx="5">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
          <c:min val="2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94CB2D-5E33-4484-8311-9D11B5F51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938C86-7AB9-4AEA-99C9-15992518A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69E1B0-4059-4A4C-8896-7430C3446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E4B58D9-0669-434F-B73E-5DFFE6F22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097660-4494-4C81-9246-14B4D59C4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03EE6BB-2C05-428A-A7B9-0CBE34DB3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9DF197-76E7-4CD2-88B3-82122BF0F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0C227D-0A62-4FD8-A8AF-1206231AA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82.56490000000002</c:v>
                </c:pt>
                <c:pt idx="1">
                  <c:v>292.07900000000001</c:v>
                </c:pt>
                <c:pt idx="2">
                  <c:v>581.43769999999995</c:v>
                </c:pt>
              </c:numCache>
            </c:numRef>
          </c:xVal>
          <c:yVal>
            <c:numRef>
              <c:f>Sheet1!$B$2:$B$4</c:f>
              <c:numCache>
                <c:formatCode>General</c:formatCode>
                <c:ptCount val="3"/>
                <c:pt idx="0">
                  <c:v>0.98299999999999998</c:v>
                </c:pt>
                <c:pt idx="1">
                  <c:v>1.0049999999999999</c:v>
                </c:pt>
                <c:pt idx="2">
                  <c:v>4.0250000000000004</c:v>
                </c:pt>
              </c:numCache>
            </c:numRef>
          </c:yVal>
          <c:bubbleSize>
            <c:numRef>
              <c:f>Sheet1!$C$2:$C$4</c:f>
              <c:numCache>
                <c:formatCode>General</c:formatCode>
                <c:ptCount val="3"/>
                <c:pt idx="0">
                  <c:v>15528071</c:v>
                </c:pt>
                <c:pt idx="1">
                  <c:v>7487736</c:v>
                </c:pt>
                <c:pt idx="2">
                  <c:v>429101</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8"/>
          <c:min val="22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EDEA33-8B6B-49F1-9354-D599FD44A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186E56-3469-43D2-8BED-3434C65BF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007D89-60BA-487C-B3BA-467369436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CB460D-CA22-4E5B-8EF8-95DC39A73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CECE86-422B-4E06-9E68-79F0722BD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F33B93-1DAD-41CA-85A1-ABCFF9E6A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52D469-F2C3-43FF-8333-C282BA5C3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5BCDBE-E064-40A3-BC78-853ECA229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6.93690000000001</c:v>
                </c:pt>
                <c:pt idx="1">
                  <c:v>243.8965</c:v>
                </c:pt>
                <c:pt idx="2">
                  <c:v>294.39339999999999</c:v>
                </c:pt>
                <c:pt idx="3">
                  <c:v>80.909499999999994</c:v>
                </c:pt>
                <c:pt idx="4">
                  <c:v>263.98469999999998</c:v>
                </c:pt>
                <c:pt idx="5">
                  <c:v>614.81870000000004</c:v>
                </c:pt>
                <c:pt idx="6">
                  <c:v>73.909300000000002</c:v>
                </c:pt>
                <c:pt idx="7">
                  <c:v>329.48570000000001</c:v>
                </c:pt>
              </c:numCache>
            </c:numRef>
          </c:xVal>
          <c:yVal>
            <c:numRef>
              <c:f>Sheet1!$B$2:$B$9</c:f>
              <c:numCache>
                <c:formatCode>General</c:formatCode>
                <c:ptCount val="8"/>
                <c:pt idx="0">
                  <c:v>1.5469999999999999</c:v>
                </c:pt>
                <c:pt idx="1">
                  <c:v>0.72099999999999997</c:v>
                </c:pt>
                <c:pt idx="2">
                  <c:v>2.109</c:v>
                </c:pt>
                <c:pt idx="3">
                  <c:v>0.42399999999999999</c:v>
                </c:pt>
                <c:pt idx="4">
                  <c:v>3.8050000000000002</c:v>
                </c:pt>
                <c:pt idx="5">
                  <c:v>11.061</c:v>
                </c:pt>
                <c:pt idx="6">
                  <c:v>0.39600000000000002</c:v>
                </c:pt>
                <c:pt idx="7">
                  <c:v>2.5019999999999998</c:v>
                </c:pt>
              </c:numCache>
            </c:numRef>
          </c:yVal>
          <c:bubbleSize>
            <c:numRef>
              <c:f>Sheet1!$C$2:$C$9</c:f>
              <c:numCache>
                <c:formatCode>General</c:formatCode>
                <c:ptCount val="8"/>
                <c:pt idx="0">
                  <c:v>28728141</c:v>
                </c:pt>
                <c:pt idx="1">
                  <c:v>17662741</c:v>
                </c:pt>
                <c:pt idx="2">
                  <c:v>9055836</c:v>
                </c:pt>
                <c:pt idx="3">
                  <c:v>5505085</c:v>
                </c:pt>
                <c:pt idx="4">
                  <c:v>3600224</c:v>
                </c:pt>
                <c:pt idx="5">
                  <c:v>2370126</c:v>
                </c:pt>
                <c:pt idx="6">
                  <c:v>1682618</c:v>
                </c:pt>
                <c:pt idx="7">
                  <c:v>966711</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Total Care De Mexico</c:v>
                  </c:pt>
                  <c:pt idx="4">
                    <c:v>L'Oreal</c:v>
                  </c:pt>
                  <c:pt idx="5">
                    <c:v>Isdin</c:v>
                  </c:pt>
                  <c:pt idx="6">
                    <c:v>Inds.Lavin De Mexico</c:v>
                  </c:pt>
                  <c:pt idx="7">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8"/>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958BCF-8ADB-4CF2-864F-58E9A4428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8B84E5-2492-40D7-8CA2-D3581D555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AA088F-17E4-48A3-9B6B-5E1398994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5F6EC7C-C6E0-4EEC-8145-8F68D9967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1E8ED2-A829-40DE-8496-D9D68DC17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F248FFE-5EBD-4E6C-A140-229BF65AD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1213AA-4E9E-4F40-9274-BB544078F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2A8C77-9773-4A2F-94C3-265E67572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7.54249999999999</c:v>
                </c:pt>
                <c:pt idx="1">
                  <c:v>181.36779999999999</c:v>
                </c:pt>
                <c:pt idx="2">
                  <c:v>255.79580000000001</c:v>
                </c:pt>
              </c:numCache>
            </c:numRef>
          </c:xVal>
          <c:yVal>
            <c:numRef>
              <c:f>Sheet1!$B$2:$B$4</c:f>
              <c:numCache>
                <c:formatCode>General</c:formatCode>
                <c:ptCount val="3"/>
                <c:pt idx="0">
                  <c:v>0.97199999999999998</c:v>
                </c:pt>
                <c:pt idx="1">
                  <c:v>0.92400000000000004</c:v>
                </c:pt>
                <c:pt idx="2">
                  <c:v>4.7389999999999999</c:v>
                </c:pt>
              </c:numCache>
            </c:numRef>
          </c:yVal>
          <c:bubbleSize>
            <c:numRef>
              <c:f>Sheet1!$C$2:$C$4</c:f>
              <c:numCache>
                <c:formatCode>General</c:formatCode>
                <c:ptCount val="3"/>
                <c:pt idx="0">
                  <c:v>22700562</c:v>
                </c:pt>
                <c:pt idx="1">
                  <c:v>18754695</c:v>
                </c:pt>
                <c:pt idx="2">
                  <c:v>2387854</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7"/>
          <c:min val="14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679174-749D-413F-A317-A90EFD9BA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8E4160-DC38-4A4A-9FDD-377070A82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F1C11E-6E53-4AFB-8E19-81082C7A6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6E35BA-DB7D-4300-B2CF-F06D5842A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A683490-2E75-4D68-A539-BB750248E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4B5E29-26BA-4C1E-A320-E0BE4A42E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DEA0E00-A518-4297-9EDC-40EB9B9C7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FCE66C-4F32-4CC6-8FFC-426252558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8.85120000000001</c:v>
                </c:pt>
                <c:pt idx="1">
                  <c:v>153.2124</c:v>
                </c:pt>
                <c:pt idx="2">
                  <c:v>603.70399999999995</c:v>
                </c:pt>
                <c:pt idx="3">
                  <c:v>513.76520000000005</c:v>
                </c:pt>
              </c:numCache>
            </c:numRef>
          </c:xVal>
          <c:yVal>
            <c:numRef>
              <c:f>Sheet1!$B$2:$B$5</c:f>
              <c:numCache>
                <c:formatCode>General</c:formatCode>
                <c:ptCount val="4"/>
                <c:pt idx="0">
                  <c:v>1.1879999999999999</c:v>
                </c:pt>
                <c:pt idx="1">
                  <c:v>0.42399999999999999</c:v>
                </c:pt>
                <c:pt idx="2">
                  <c:v>1.9319999999999999</c:v>
                </c:pt>
                <c:pt idx="3">
                  <c:v>8.5660000000000007</c:v>
                </c:pt>
              </c:numCache>
            </c:numRef>
          </c:yVal>
          <c:bubbleSize>
            <c:numRef>
              <c:f>Sheet1!$C$2:$C$5</c:f>
              <c:numCache>
                <c:formatCode>General</c:formatCode>
                <c:ptCount val="4"/>
                <c:pt idx="0">
                  <c:v>11419513</c:v>
                </c:pt>
                <c:pt idx="1">
                  <c:v>2118621</c:v>
                </c:pt>
                <c:pt idx="2">
                  <c:v>868730</c:v>
                </c:pt>
                <c:pt idx="3">
                  <c:v>770134</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4"/>
          <c:min val="1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8BF2F0-398F-4765-ACD6-DDB0B1FF5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008DFF-E106-44B0-BA07-85FC5B35C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E7C686-1ABC-436C-BFC5-DA962993B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E95C5A-D01C-49B6-B11C-9D2BAD283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F04276-1C84-4CC8-BE9E-338E84CEE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4E0C40-0835-4726-838A-000EC6D46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401B658-BADC-47D3-AF4D-14F6D2B03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ED4B26-702C-405E-BCDC-EEBCAE417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9.65730000000002</c:v>
                </c:pt>
                <c:pt idx="1">
                  <c:v>613.18759999999997</c:v>
                </c:pt>
                <c:pt idx="2">
                  <c:v>587.87170000000003</c:v>
                </c:pt>
                <c:pt idx="3">
                  <c:v>314.7817</c:v>
                </c:pt>
                <c:pt idx="4">
                  <c:v>605.62210000000005</c:v>
                </c:pt>
                <c:pt idx="5">
                  <c:v>268.76769999999999</c:v>
                </c:pt>
              </c:numCache>
            </c:numRef>
          </c:xVal>
          <c:yVal>
            <c:numRef>
              <c:f>Sheet1!$B$2:$B$7</c:f>
              <c:numCache>
                <c:formatCode>General</c:formatCode>
                <c:ptCount val="6"/>
                <c:pt idx="0">
                  <c:v>0.57699999999999996</c:v>
                </c:pt>
                <c:pt idx="1">
                  <c:v>2.4020000000000001</c:v>
                </c:pt>
                <c:pt idx="2">
                  <c:v>2.1539999999999999</c:v>
                </c:pt>
                <c:pt idx="3">
                  <c:v>1.03</c:v>
                </c:pt>
                <c:pt idx="4">
                  <c:v>0</c:v>
                </c:pt>
                <c:pt idx="5">
                  <c:v>0.52600000000000002</c:v>
                </c:pt>
              </c:numCache>
            </c:numRef>
          </c:yVal>
          <c:bubbleSize>
            <c:numRef>
              <c:f>Sheet1!$C$2:$C$7</c:f>
              <c:numCache>
                <c:formatCode>General</c:formatCode>
                <c:ptCount val="6"/>
                <c:pt idx="0">
                  <c:v>1585585</c:v>
                </c:pt>
                <c:pt idx="1">
                  <c:v>1019731</c:v>
                </c:pt>
                <c:pt idx="2">
                  <c:v>888862</c:v>
                </c:pt>
                <c:pt idx="3">
                  <c:v>230735</c:v>
                </c:pt>
                <c:pt idx="4">
                  <c:v>104167</c:v>
                </c:pt>
                <c:pt idx="5">
                  <c:v>68267</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L'Oreal</c:v>
                  </c:pt>
                  <c:pt idx="3">
                    <c:v>Bioderma</c:v>
                  </c:pt>
                  <c:pt idx="4">
                    <c:v>Pierre Fabre</c:v>
                  </c:pt>
                  <c:pt idx="5">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
          <c:min val="2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2856D4-42FF-44D2-9248-B09C5016A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30F495-6698-4F9F-BEE4-99A081506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8B2F732-ED52-42AB-A248-BB697DA1E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31B7974-558A-4836-9884-B9434D40D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A243837-BE42-4476-9EE3-3BE8831C4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E5A8959-21D0-402C-A821-B3B5A1A32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C57D71-7126-49FB-97EF-483632288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BDBF30-6E98-485A-9412-F0503FADF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82.40949999999998</c:v>
                </c:pt>
                <c:pt idx="1">
                  <c:v>292.85219999999998</c:v>
                </c:pt>
              </c:numCache>
            </c:numRef>
          </c:xVal>
          <c:yVal>
            <c:numRef>
              <c:f>Sheet1!$B$2:$B$3</c:f>
              <c:numCache>
                <c:formatCode>General</c:formatCode>
                <c:ptCount val="2"/>
                <c:pt idx="0">
                  <c:v>0.98299999999999998</c:v>
                </c:pt>
                <c:pt idx="1">
                  <c:v>1.0189999999999999</c:v>
                </c:pt>
              </c:numCache>
            </c:numRef>
          </c:yVal>
          <c:bubbleSize>
            <c:numRef>
              <c:f>Sheet1!$C$2:$C$3</c:f>
              <c:numCache>
                <c:formatCode>General</c:formatCode>
                <c:ptCount val="2"/>
                <c:pt idx="0">
                  <c:v>16678256</c:v>
                </c:pt>
                <c:pt idx="1">
                  <c:v>7451918</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1"/>
          <c:min val="22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1419.7</c:v>
                </c:pt>
                <c:pt idx="1">
                  <c:v>421.6</c:v>
                </c:pt>
                <c:pt idx="2">
                  <c:v>139.69999999999999</c:v>
                </c:pt>
                <c:pt idx="3">
                  <c:v>4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39.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03.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688.7191</c:v>
                </c:pt>
                <c:pt idx="1">
                  <c:v>1239.6210000000001</c:v>
                </c:pt>
                <c:pt idx="2">
                  <c:v>1129.5237999999999</c:v>
                </c:pt>
                <c:pt idx="3">
                  <c:v>1203.28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309</c:v>
                </c:pt>
                <c:pt idx="1">
                  <c:v>89.2</c:v>
                </c:pt>
                <c:pt idx="2">
                  <c:v>27.7</c:v>
                </c:pt>
                <c:pt idx="3">
                  <c:v>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32.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95.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720.6778999999999</c:v>
                </c:pt>
                <c:pt idx="1">
                  <c:v>1232.5839000000001</c:v>
                </c:pt>
                <c:pt idx="2">
                  <c:v>1113.2074</c:v>
                </c:pt>
                <c:pt idx="3">
                  <c:v>1195.68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268.60000000000002</c:v>
                </c:pt>
                <c:pt idx="1">
                  <c:v>58.9</c:v>
                </c:pt>
                <c:pt idx="2">
                  <c:v>21.6</c:v>
                </c:pt>
                <c:pt idx="3">
                  <c:v>6.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0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7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2092.9344000000001</c:v>
                </c:pt>
                <c:pt idx="1">
                  <c:v>1203.6478</c:v>
                </c:pt>
                <c:pt idx="2">
                  <c:v>1168.932</c:v>
                </c:pt>
                <c:pt idx="3">
                  <c:v>1176.6425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85112E9-0BFE-43FE-985E-6893F6CB6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0B41D20-5F5E-4FBC-9DFD-29C361957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9907806-AB0D-4ADB-BC81-0B6CE0EAB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93C7BB3-1AC4-4D7C-B465-4FFC08DCA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23EEBA8-B08F-4CF2-88F5-7DB34D16C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40B61BA-C48E-429E-9FAC-959805E9E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5204A67-07BE-4998-8BE2-02DE26325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96427D8-6C10-45EC-A2B0-89E18E14F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6.13529999999997</c:v>
                </c:pt>
                <c:pt idx="1">
                  <c:v>250.9359</c:v>
                </c:pt>
                <c:pt idx="2">
                  <c:v>214.3</c:v>
                </c:pt>
                <c:pt idx="3">
                  <c:v>270.09620000000001</c:v>
                </c:pt>
              </c:numCache>
            </c:numRef>
          </c:xVal>
          <c:yVal>
            <c:numRef>
              <c:f>Sheet1!$B$2:$B$5</c:f>
              <c:numCache>
                <c:formatCode>General</c:formatCode>
                <c:ptCount val="4"/>
                <c:pt idx="0">
                  <c:v>0.98899999999999999</c:v>
                </c:pt>
                <c:pt idx="1">
                  <c:v>1.105</c:v>
                </c:pt>
                <c:pt idx="2">
                  <c:v>0.79200000000000004</c:v>
                </c:pt>
                <c:pt idx="3">
                  <c:v>1.3620000000000001</c:v>
                </c:pt>
              </c:numCache>
            </c:numRef>
          </c:yVal>
          <c:bubbleSize>
            <c:numRef>
              <c:f>Sheet1!$C$2:$C$5</c:f>
              <c:numCache>
                <c:formatCode>General</c:formatCode>
                <c:ptCount val="4"/>
                <c:pt idx="0">
                  <c:v>1704863</c:v>
                </c:pt>
                <c:pt idx="1">
                  <c:v>1323185</c:v>
                </c:pt>
                <c:pt idx="2">
                  <c:v>413599</c:v>
                </c:pt>
                <c:pt idx="3">
                  <c:v>143151</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Australian Gold</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17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230.2</c:v>
                </c:pt>
                <c:pt idx="1">
                  <c:v>75.099999999999994</c:v>
                </c:pt>
                <c:pt idx="2">
                  <c:v>26.1</c:v>
                </c:pt>
                <c:pt idx="3">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0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426.1102000000001</c:v>
                </c:pt>
                <c:pt idx="1">
                  <c:v>1218.6012000000001</c:v>
                </c:pt>
                <c:pt idx="2">
                  <c:v>1066.3696</c:v>
                </c:pt>
                <c:pt idx="3">
                  <c:v>1103.0323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229.5</c:v>
                </c:pt>
                <c:pt idx="1">
                  <c:v>64.400000000000006</c:v>
                </c:pt>
                <c:pt idx="2">
                  <c:v>24.6</c:v>
                </c:pt>
                <c:pt idx="3">
                  <c:v>6.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8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650.2655999999999</c:v>
                </c:pt>
                <c:pt idx="1">
                  <c:v>1215.1839</c:v>
                </c:pt>
                <c:pt idx="2">
                  <c:v>1119.7040999999999</c:v>
                </c:pt>
                <c:pt idx="3">
                  <c:v>1184.3471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219.5</c:v>
                </c:pt>
                <c:pt idx="1">
                  <c:v>76.5</c:v>
                </c:pt>
                <c:pt idx="2">
                  <c:v>23.2</c:v>
                </c:pt>
                <c:pt idx="3">
                  <c:v>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665.943</c:v>
                </c:pt>
                <c:pt idx="1">
                  <c:v>1275.4697000000001</c:v>
                </c:pt>
                <c:pt idx="2">
                  <c:v>1145.3687</c:v>
                </c:pt>
                <c:pt idx="3">
                  <c:v>1284.7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162.9</c:v>
                </c:pt>
                <c:pt idx="1">
                  <c:v>57.5</c:v>
                </c:pt>
                <c:pt idx="2">
                  <c:v>16.5</c:v>
                </c:pt>
                <c:pt idx="3">
                  <c:v>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300.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96.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620.3788</c:v>
                </c:pt>
                <c:pt idx="1">
                  <c:v>1300.8857</c:v>
                </c:pt>
                <c:pt idx="2">
                  <c:v>1211.6323</c:v>
                </c:pt>
                <c:pt idx="3">
                  <c:v>1296.747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1419.7</c:v>
                </c:pt>
                <c:pt idx="1">
                  <c:v>245.7</c:v>
                </c:pt>
                <c:pt idx="2">
                  <c:v>139.69999999999999</c:v>
                </c:pt>
                <c:pt idx="3">
                  <c:v>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4.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89.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688.7191</c:v>
                </c:pt>
                <c:pt idx="1">
                  <c:v>1214.0429999999999</c:v>
                </c:pt>
                <c:pt idx="2">
                  <c:v>1129.5237999999999</c:v>
                </c:pt>
                <c:pt idx="3">
                  <c:v>589.3522000000000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309</c:v>
                </c:pt>
                <c:pt idx="1">
                  <c:v>54.1</c:v>
                </c:pt>
                <c:pt idx="2">
                  <c:v>27.7</c:v>
                </c:pt>
                <c:pt idx="3">
                  <c:v>0.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720.6778999999999</c:v>
                </c:pt>
                <c:pt idx="1">
                  <c:v>1221.0676000000001</c:v>
                </c:pt>
                <c:pt idx="2">
                  <c:v>1113.2074</c:v>
                </c:pt>
                <c:pt idx="3">
                  <c:v>584.0981000000000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268.60000000000002</c:v>
                </c:pt>
                <c:pt idx="1">
                  <c:v>32.200000000000003</c:v>
                </c:pt>
                <c:pt idx="2">
                  <c:v>21.6</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720.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2092.9344000000001</c:v>
                </c:pt>
                <c:pt idx="1">
                  <c:v>1178.1282000000001</c:v>
                </c:pt>
                <c:pt idx="2">
                  <c:v>1168.932</c:v>
                </c:pt>
                <c:pt idx="3">
                  <c:v>720.6190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230.2</c:v>
                </c:pt>
                <c:pt idx="1">
                  <c:v>45.8</c:v>
                </c:pt>
                <c:pt idx="2">
                  <c:v>26.1</c:v>
                </c:pt>
                <c:pt idx="3">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9.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7.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426.1102000000001</c:v>
                </c:pt>
                <c:pt idx="1">
                  <c:v>1179.6786999999999</c:v>
                </c:pt>
                <c:pt idx="2">
                  <c:v>1066.3696</c:v>
                </c:pt>
                <c:pt idx="3">
                  <c:v>547.9179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229.5</c:v>
                </c:pt>
                <c:pt idx="1">
                  <c:v>38.5</c:v>
                </c:pt>
                <c:pt idx="2">
                  <c:v>24.6</c:v>
                </c:pt>
                <c:pt idx="3">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0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9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650.2655999999999</c:v>
                </c:pt>
                <c:pt idx="1">
                  <c:v>1201.8362</c:v>
                </c:pt>
                <c:pt idx="2">
                  <c:v>1119.7040999999999</c:v>
                </c:pt>
                <c:pt idx="3">
                  <c:v>594.513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219.5</c:v>
                </c:pt>
                <c:pt idx="1">
                  <c:v>43.5</c:v>
                </c:pt>
                <c:pt idx="2">
                  <c:v>23.2</c:v>
                </c:pt>
                <c:pt idx="3">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0.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645.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665.943</c:v>
                </c:pt>
                <c:pt idx="1">
                  <c:v>1250.125</c:v>
                </c:pt>
                <c:pt idx="2">
                  <c:v>1145.3687</c:v>
                </c:pt>
                <c:pt idx="3">
                  <c:v>645.6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EF3E67E-9D1E-410D-826F-4364D6F01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5764FA4-2BE6-4F61-B491-D0BDBEB5F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A583909F-DCE4-4D9F-8BAA-D7586FD42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76669866-8B35-45AD-A844-927FF9771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08C508D3-17FF-4B42-80B3-E948B8427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1ECDE0F4-F209-4CF3-8A58-D6CFA8792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08A823C-E873-4C41-85C8-484DD3DE9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60B93349-C336-47FC-8DD9-27098846A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9.85</c:v>
                </c:pt>
                <c:pt idx="1">
                  <c:v>136.4699</c:v>
                </c:pt>
                <c:pt idx="2">
                  <c:v>112.9348</c:v>
                </c:pt>
                <c:pt idx="3">
                  <c:v>250.0581</c:v>
                </c:pt>
              </c:numCache>
            </c:numRef>
          </c:xVal>
          <c:yVal>
            <c:numRef>
              <c:f>Sheet1!$B$2:$B$5</c:f>
              <c:numCache>
                <c:formatCode>General</c:formatCode>
                <c:ptCount val="4"/>
                <c:pt idx="0">
                  <c:v>1.2230000000000001</c:v>
                </c:pt>
                <c:pt idx="1">
                  <c:v>0.745</c:v>
                </c:pt>
                <c:pt idx="2">
                  <c:v>0.97399999999999998</c:v>
                </c:pt>
                <c:pt idx="3">
                  <c:v>3.0339999999999998</c:v>
                </c:pt>
              </c:numCache>
            </c:numRef>
          </c:yVal>
          <c:bubbleSize>
            <c:numRef>
              <c:f>Sheet1!$C$2:$C$5</c:f>
              <c:numCache>
                <c:formatCode>General</c:formatCode>
                <c:ptCount val="4"/>
                <c:pt idx="0">
                  <c:v>1178419</c:v>
                </c:pt>
                <c:pt idx="1">
                  <c:v>940414</c:v>
                </c:pt>
                <c:pt idx="2">
                  <c:v>567949</c:v>
                </c:pt>
                <c:pt idx="3">
                  <c:v>38759</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0"/>
          <c:min val="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162.9</c:v>
                </c:pt>
                <c:pt idx="1">
                  <c:v>31.6</c:v>
                </c:pt>
                <c:pt idx="2">
                  <c:v>16.5</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620.3788</c:v>
                </c:pt>
                <c:pt idx="1">
                  <c:v>1259.5282999999999</c:v>
                </c:pt>
                <c:pt idx="2">
                  <c:v>1211.6323</c:v>
                </c:pt>
                <c:pt idx="3">
                  <c:v>533.2530000000000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1419.7</c:v>
                </c:pt>
                <c:pt idx="1">
                  <c:v>163.5</c:v>
                </c:pt>
                <c:pt idx="2">
                  <c:v>139.69999999999999</c:v>
                </c:pt>
                <c:pt idx="3">
                  <c:v>4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18.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688.7191</c:v>
                </c:pt>
                <c:pt idx="1">
                  <c:v>1214.0245</c:v>
                </c:pt>
                <c:pt idx="2">
                  <c:v>1129.5237999999999</c:v>
                </c:pt>
                <c:pt idx="3">
                  <c:v>1218.684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309</c:v>
                </c:pt>
                <c:pt idx="1">
                  <c:v>32.1</c:v>
                </c:pt>
                <c:pt idx="2">
                  <c:v>27.7</c:v>
                </c:pt>
                <c:pt idx="3">
                  <c:v>7.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720.6778999999999</c:v>
                </c:pt>
                <c:pt idx="1">
                  <c:v>1172.3556000000001</c:v>
                </c:pt>
                <c:pt idx="2">
                  <c:v>1113.2074</c:v>
                </c:pt>
                <c:pt idx="3">
                  <c:v>1222.9033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268.60000000000002</c:v>
                </c:pt>
                <c:pt idx="1">
                  <c:v>24.7</c:v>
                </c:pt>
                <c:pt idx="2">
                  <c:v>21.6</c:v>
                </c:pt>
                <c:pt idx="3">
                  <c:v>6.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80.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2092.9344000000001</c:v>
                </c:pt>
                <c:pt idx="1">
                  <c:v>1171.4626000000001</c:v>
                </c:pt>
                <c:pt idx="2">
                  <c:v>1168.932</c:v>
                </c:pt>
                <c:pt idx="3">
                  <c:v>1180.2494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230.2</c:v>
                </c:pt>
                <c:pt idx="1">
                  <c:v>27</c:v>
                </c:pt>
                <c:pt idx="2">
                  <c:v>26.1</c:v>
                </c:pt>
                <c:pt idx="3">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15.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426.1102000000001</c:v>
                </c:pt>
                <c:pt idx="1">
                  <c:v>1225.5521000000001</c:v>
                </c:pt>
                <c:pt idx="2">
                  <c:v>1066.3696</c:v>
                </c:pt>
                <c:pt idx="3">
                  <c:v>1115.4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229.5</c:v>
                </c:pt>
                <c:pt idx="1">
                  <c:v>24</c:v>
                </c:pt>
                <c:pt idx="2">
                  <c:v>24.6</c:v>
                </c:pt>
                <c:pt idx="3">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07.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650.2655999999999</c:v>
                </c:pt>
                <c:pt idx="1">
                  <c:v>1171.8741</c:v>
                </c:pt>
                <c:pt idx="2">
                  <c:v>1119.7040999999999</c:v>
                </c:pt>
                <c:pt idx="3">
                  <c:v>1207.6943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219.5</c:v>
                </c:pt>
                <c:pt idx="1">
                  <c:v>31.1</c:v>
                </c:pt>
                <c:pt idx="2">
                  <c:v>23.2</c:v>
                </c:pt>
                <c:pt idx="3">
                  <c:v>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5.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93.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665.943</c:v>
                </c:pt>
                <c:pt idx="1">
                  <c:v>1255.5078000000001</c:v>
                </c:pt>
                <c:pt idx="2">
                  <c:v>1145.3687</c:v>
                </c:pt>
                <c:pt idx="3">
                  <c:v>1293.8791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162.9</c:v>
                </c:pt>
                <c:pt idx="1">
                  <c:v>24.4</c:v>
                </c:pt>
                <c:pt idx="2">
                  <c:v>16.5</c:v>
                </c:pt>
                <c:pt idx="3">
                  <c:v>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30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3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620.3788</c:v>
                </c:pt>
                <c:pt idx="1">
                  <c:v>1300.5640000000001</c:v>
                </c:pt>
                <c:pt idx="2">
                  <c:v>1211.6323</c:v>
                </c:pt>
                <c:pt idx="3">
                  <c:v>1311.64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1419.7</c:v>
                </c:pt>
                <c:pt idx="1">
                  <c:v>12.5</c:v>
                </c:pt>
                <c:pt idx="2">
                  <c:v>139.69999999999999</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688.7191</c:v>
                </c:pt>
                <c:pt idx="1">
                  <c:v>4025.5318000000002</c:v>
                </c:pt>
                <c:pt idx="2">
                  <c:v>1129.523799999999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309</c:v>
                </c:pt>
                <c:pt idx="1">
                  <c:v>3</c:v>
                </c:pt>
                <c:pt idx="2">
                  <c:v>27.7</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720.6778999999999</c:v>
                </c:pt>
                <c:pt idx="1">
                  <c:v>4341.9049999999997</c:v>
                </c:pt>
                <c:pt idx="2">
                  <c:v>1113.2074</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1EF4A9-3186-4E53-BA7D-C02F1091C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7B1CB7-4BB5-4387-8D50-C7AFC9A8D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14F637-6683-44D8-A26C-4B4AEBAAB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861711-9E65-472F-996A-B076EAA6B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40DD44-D9F4-453B-8CE6-5F0D921A7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DF990C-AA63-4BBA-BFC7-A91E9798D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ED686D-5998-497F-8056-2AB02E559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A84EC6-97FB-4349-8834-349912B0E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0453</c:v>
                </c:pt>
                <c:pt idx="1">
                  <c:v>209.34389999999999</c:v>
                </c:pt>
                <c:pt idx="2">
                  <c:v>225.2062</c:v>
                </c:pt>
                <c:pt idx="3">
                  <c:v>576.40459999999996</c:v>
                </c:pt>
                <c:pt idx="4">
                  <c:v>291.35789999999997</c:v>
                </c:pt>
                <c:pt idx="5">
                  <c:v>87.380099999999999</c:v>
                </c:pt>
                <c:pt idx="6">
                  <c:v>560.57960000000003</c:v>
                </c:pt>
                <c:pt idx="7">
                  <c:v>206.30250000000001</c:v>
                </c:pt>
              </c:numCache>
            </c:numRef>
          </c:xVal>
          <c:yVal>
            <c:numRef>
              <c:f>Sheet1!$B$2:$B$9</c:f>
              <c:numCache>
                <c:formatCode>General</c:formatCode>
                <c:ptCount val="8"/>
                <c:pt idx="0">
                  <c:v>1.008</c:v>
                </c:pt>
                <c:pt idx="1">
                  <c:v>0.71899999999999997</c:v>
                </c:pt>
                <c:pt idx="2">
                  <c:v>0.71899999999999997</c:v>
                </c:pt>
                <c:pt idx="3">
                  <c:v>3.8879999999999999</c:v>
                </c:pt>
                <c:pt idx="4">
                  <c:v>1.913</c:v>
                </c:pt>
                <c:pt idx="5">
                  <c:v>0.40600000000000003</c:v>
                </c:pt>
                <c:pt idx="6">
                  <c:v>6.1710000000000003</c:v>
                </c:pt>
                <c:pt idx="7">
                  <c:v>2.3839999999999999</c:v>
                </c:pt>
              </c:numCache>
            </c:numRef>
          </c:yVal>
          <c:bubbleSize>
            <c:numRef>
              <c:f>Sheet1!$C$2:$C$9</c:f>
              <c:numCache>
                <c:formatCode>General</c:formatCode>
                <c:ptCount val="8"/>
                <c:pt idx="0">
                  <c:v>462155258</c:v>
                </c:pt>
                <c:pt idx="1">
                  <c:v>245682239</c:v>
                </c:pt>
                <c:pt idx="2">
                  <c:v>163452614</c:v>
                </c:pt>
                <c:pt idx="3">
                  <c:v>105220346</c:v>
                </c:pt>
                <c:pt idx="4">
                  <c:v>101346207</c:v>
                </c:pt>
                <c:pt idx="5">
                  <c:v>48849248</c:v>
                </c:pt>
                <c:pt idx="6">
                  <c:v>41745239</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2"/>
          <c:min val="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268.60000000000002</c:v>
                </c:pt>
                <c:pt idx="1">
                  <c:v>1.9</c:v>
                </c:pt>
                <c:pt idx="2">
                  <c:v>21.6</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2092.9344000000001</c:v>
                </c:pt>
                <c:pt idx="1">
                  <c:v>4279.4597999999996</c:v>
                </c:pt>
                <c:pt idx="2">
                  <c:v>1168.932</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230.2</c:v>
                </c:pt>
                <c:pt idx="1">
                  <c:v>2.2000000000000002</c:v>
                </c:pt>
                <c:pt idx="2">
                  <c:v>26.1</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310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426.1102000000001</c:v>
                </c:pt>
                <c:pt idx="1">
                  <c:v>3103.4389000000001</c:v>
                </c:pt>
                <c:pt idx="2">
                  <c:v>1066.3696</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229.5</c:v>
                </c:pt>
                <c:pt idx="1">
                  <c:v>1.8</c:v>
                </c:pt>
                <c:pt idx="2">
                  <c:v>24.6</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650.2655999999999</c:v>
                </c:pt>
                <c:pt idx="1">
                  <c:v>4233.1399000000001</c:v>
                </c:pt>
                <c:pt idx="2">
                  <c:v>1119.704099999999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219.5</c:v>
                </c:pt>
                <c:pt idx="1">
                  <c:v>2</c:v>
                </c:pt>
                <c:pt idx="2">
                  <c:v>23.2</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665.943</c:v>
                </c:pt>
                <c:pt idx="1">
                  <c:v>4326.9489999999996</c:v>
                </c:pt>
                <c:pt idx="2">
                  <c:v>1145.3687</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162.9</c:v>
                </c:pt>
                <c:pt idx="1">
                  <c:v>1.5</c:v>
                </c:pt>
                <c:pt idx="2">
                  <c:v>16.5</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620.3788</c:v>
                </c:pt>
                <c:pt idx="1">
                  <c:v>4326.4348</c:v>
                </c:pt>
                <c:pt idx="2">
                  <c:v>1211.6323</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870.1</c:v>
                </c:pt>
                <c:pt idx="1">
                  <c:v>290.7</c:v>
                </c:pt>
                <c:pt idx="2">
                  <c:v>397</c:v>
                </c:pt>
                <c:pt idx="3">
                  <c:v>0</c:v>
                </c:pt>
                <c:pt idx="4">
                  <c:v>152.69999999999999</c:v>
                </c:pt>
                <c:pt idx="5">
                  <c:v>130.9</c:v>
                </c:pt>
                <c:pt idx="6">
                  <c:v>129.5</c:v>
                </c:pt>
                <c:pt idx="7">
                  <c:v>4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1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85.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4C9-42E7-86A0-4500B48B3D14}"/>
                </c:ext>
              </c:extLst>
            </c:dLbl>
            <c:dLbl>
              <c:idx val="5"/>
              <c:tx>
                <c:rich>
                  <a:bodyPr/>
                  <a:lstStyle/>
                  <a:p>
                    <a:r>
                      <a:t>1205.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4C9-42E7-86A0-4500B48B3D14}"/>
                </c:ext>
              </c:extLst>
            </c:dLbl>
            <c:dLbl>
              <c:idx val="6"/>
              <c:tx>
                <c:rich>
                  <a:bodyPr/>
                  <a:lstStyle/>
                  <a:p>
                    <a:r>
                      <a:t>1085.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4C9-42E7-86A0-4500B48B3D14}"/>
                </c:ext>
              </c:extLst>
            </c:dLbl>
            <c:dLbl>
              <c:idx val="7"/>
              <c:tx>
                <c:rich>
                  <a:bodyPr/>
                  <a:lstStyle/>
                  <a:p>
                    <a:r>
                      <a:t>1203.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4C9-42E7-86A0-4500B48B3D1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11.8489</c:v>
                </c:pt>
                <c:pt idx="1">
                  <c:v>1255.7338999999999</c:v>
                </c:pt>
                <c:pt idx="2">
                  <c:v>4735.4713000000002</c:v>
                </c:pt>
                <c:pt idx="3">
                  <c:v>0</c:v>
                </c:pt>
                <c:pt idx="4">
                  <c:v>1085.8104000000001</c:v>
                </c:pt>
                <c:pt idx="5">
                  <c:v>1205.2905000000001</c:v>
                </c:pt>
                <c:pt idx="6">
                  <c:v>1085.1052999999999</c:v>
                </c:pt>
                <c:pt idx="7">
                  <c:v>1203.28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88.6</c:v>
                </c:pt>
                <c:pt idx="1">
                  <c:v>64.099999999999994</c:v>
                </c:pt>
                <c:pt idx="2">
                  <c:v>90.8</c:v>
                </c:pt>
                <c:pt idx="3">
                  <c:v>0</c:v>
                </c:pt>
                <c:pt idx="4">
                  <c:v>29.6</c:v>
                </c:pt>
                <c:pt idx="5">
                  <c:v>25.1</c:v>
                </c:pt>
                <c:pt idx="6">
                  <c:v>25.7</c:v>
                </c:pt>
                <c:pt idx="7">
                  <c:v>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8.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41.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578.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6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2FD-4E22-968D-8921BF7C060C}"/>
                </c:ext>
              </c:extLst>
            </c:dLbl>
            <c:dLbl>
              <c:idx val="5"/>
              <c:tx>
                <c:rich>
                  <a:bodyPr/>
                  <a:lstStyle/>
                  <a:p>
                    <a:r>
                      <a:t>1211.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2FD-4E22-968D-8921BF7C060C}"/>
                </c:ext>
              </c:extLst>
            </c:dLbl>
            <c:dLbl>
              <c:idx val="6"/>
              <c:tx>
                <c:rich>
                  <a:bodyPr/>
                  <a:lstStyle/>
                  <a:p>
                    <a:r>
                      <a:t>1070.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C2FD-4E22-968D-8921BF7C060C}"/>
                </c:ext>
              </c:extLst>
            </c:dLbl>
            <c:dLbl>
              <c:idx val="7"/>
              <c:tx>
                <c:rich>
                  <a:bodyPr/>
                  <a:lstStyle/>
                  <a:p>
                    <a:r>
                      <a:t>1195.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C2FD-4E22-968D-8921BF7C06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28.5275999999999</c:v>
                </c:pt>
                <c:pt idx="1">
                  <c:v>1241.1783</c:v>
                </c:pt>
                <c:pt idx="2">
                  <c:v>4578.4647999999997</c:v>
                </c:pt>
                <c:pt idx="3">
                  <c:v>0</c:v>
                </c:pt>
                <c:pt idx="4">
                  <c:v>1068.2304999999999</c:v>
                </c:pt>
                <c:pt idx="5">
                  <c:v>1211.1840999999999</c:v>
                </c:pt>
                <c:pt idx="6">
                  <c:v>1070.3367000000001</c:v>
                </c:pt>
                <c:pt idx="7">
                  <c:v>1195.68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C3FA-47B2-AD39-F557BDBDE778}"/>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Edgewell</c:v>
                  </c:pt>
                  <c:pt idx="2">
                    <c:v>Total</c:v>
                  </c:pt>
                  <c:pt idx="3">
                    <c:v>Edgewell</c:v>
                  </c:pt>
                  <c:pt idx="4">
                    <c:v>Total</c:v>
                  </c:pt>
                  <c:pt idx="5">
                    <c:v>Edgewell</c:v>
                  </c:pt>
                  <c:pt idx="6">
                    <c:v>Total</c:v>
                  </c:pt>
                  <c:pt idx="7">
                    <c:v>Edgewell</c:v>
                  </c:pt>
                  <c:pt idx="8">
                    <c:v>Total</c:v>
                  </c:pt>
                  <c:pt idx="9">
                    <c:v>Edgewell</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D$2:$D$11</c:f>
              <c:numCache>
                <c:formatCode>General</c:formatCode>
                <c:ptCount val="10"/>
                <c:pt idx="0">
                  <c:v>127</c:v>
                </c:pt>
                <c:pt idx="1">
                  <c:v>41.8</c:v>
                </c:pt>
                <c:pt idx="2">
                  <c:v>121.4</c:v>
                </c:pt>
                <c:pt idx="3">
                  <c:v>0</c:v>
                </c:pt>
                <c:pt idx="4">
                  <c:v>20.2</c:v>
                </c:pt>
                <c:pt idx="5">
                  <c:v>17.100000000000001</c:v>
                </c:pt>
                <c:pt idx="6">
                  <c:v>18.399999999999999</c:v>
                </c:pt>
                <c:pt idx="7">
                  <c:v>6.3</c:v>
                </c:pt>
                <c:pt idx="8">
                  <c:v>3.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33.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569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C3FA-47B2-AD39-F557BDBDE778}"/>
                </c:ext>
              </c:extLst>
            </c:dLbl>
            <c:dLbl>
              <c:idx val="5"/>
              <c:tx>
                <c:rich>
                  <a:bodyPr/>
                  <a:lstStyle/>
                  <a:p>
                    <a:r>
                      <a:t>1136.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C3FA-47B2-AD39-F557BDBDE778}"/>
                </c:ext>
              </c:extLst>
            </c:dLbl>
            <c:dLbl>
              <c:idx val="6"/>
              <c:tx>
                <c:rich>
                  <a:bodyPr/>
                  <a:lstStyle/>
                  <a:p>
                    <a:r>
                      <a:t>106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3FA-47B2-AD39-F557BDBDE778}"/>
                </c:ext>
              </c:extLst>
            </c:dLbl>
            <c:dLbl>
              <c:idx val="7"/>
              <c:tx>
                <c:rich>
                  <a:bodyPr/>
                  <a:lstStyle/>
                  <a:p>
                    <a:r>
                      <a:t>117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3FA-47B2-AD39-F557BDBDE778}"/>
                </c:ext>
              </c:extLst>
            </c:dLbl>
            <c:dLbl>
              <c:idx val="8"/>
              <c:tx>
                <c:rich>
                  <a:bodyPr/>
                  <a:lstStyle/>
                  <a:p>
                    <a:r>
                      <a:t>2598.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3FA-47B2-AD39-F557BDBDE77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3FA-47B2-AD39-F557BDBDE77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Edgewell</c:v>
                  </c:pt>
                  <c:pt idx="2">
                    <c:v>Total</c:v>
                  </c:pt>
                  <c:pt idx="3">
                    <c:v>Edgewell</c:v>
                  </c:pt>
                  <c:pt idx="4">
                    <c:v>Total</c:v>
                  </c:pt>
                  <c:pt idx="5">
                    <c:v>Edgewell</c:v>
                  </c:pt>
                  <c:pt idx="6">
                    <c:v>Total</c:v>
                  </c:pt>
                  <c:pt idx="7">
                    <c:v>Edgewell</c:v>
                  </c:pt>
                  <c:pt idx="8">
                    <c:v>Total</c:v>
                  </c:pt>
                  <c:pt idx="9">
                    <c:v>Edgewell</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E$2:$E$11</c:f>
              <c:numCache>
                <c:formatCode>General</c:formatCode>
                <c:ptCount val="10"/>
                <c:pt idx="0">
                  <c:v>1454.4892</c:v>
                </c:pt>
                <c:pt idx="1">
                  <c:v>1233.4286</c:v>
                </c:pt>
                <c:pt idx="2">
                  <c:v>5692.152</c:v>
                </c:pt>
                <c:pt idx="3">
                  <c:v>0</c:v>
                </c:pt>
                <c:pt idx="4">
                  <c:v>1024.1972000000001</c:v>
                </c:pt>
                <c:pt idx="5">
                  <c:v>1136.4774</c:v>
                </c:pt>
                <c:pt idx="6">
                  <c:v>1069.6889000000001</c:v>
                </c:pt>
                <c:pt idx="7">
                  <c:v>1176.6425999999999</c:v>
                </c:pt>
                <c:pt idx="8">
                  <c:v>2598.380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69.6</c:v>
                </c:pt>
                <c:pt idx="1">
                  <c:v>49.8</c:v>
                </c:pt>
                <c:pt idx="2">
                  <c:v>31.3</c:v>
                </c:pt>
                <c:pt idx="3">
                  <c:v>0</c:v>
                </c:pt>
                <c:pt idx="4">
                  <c:v>29.3</c:v>
                </c:pt>
                <c:pt idx="5">
                  <c:v>25.3</c:v>
                </c:pt>
                <c:pt idx="6">
                  <c:v>25.6</c:v>
                </c:pt>
                <c:pt idx="7">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6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4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32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7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80E-4EEE-93B9-C080A4E97F1C}"/>
                </c:ext>
              </c:extLst>
            </c:dLbl>
            <c:dLbl>
              <c:idx val="5"/>
              <c:tx>
                <c:rich>
                  <a:bodyPr/>
                  <a:lstStyle/>
                  <a:p>
                    <a:r>
                      <a:t>116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80E-4EEE-93B9-C080A4E97F1C}"/>
                </c:ext>
              </c:extLst>
            </c:dLbl>
            <c:dLbl>
              <c:idx val="6"/>
              <c:tx>
                <c:rich>
                  <a:bodyPr/>
                  <a:lstStyle/>
                  <a:p>
                    <a:r>
                      <a:t>1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80E-4EEE-93B9-C080A4E97F1C}"/>
                </c:ext>
              </c:extLst>
            </c:dLbl>
            <c:dLbl>
              <c:idx val="7"/>
              <c:tx>
                <c:rich>
                  <a:bodyPr/>
                  <a:lstStyle/>
                  <a:p>
                    <a:r>
                      <a:t>110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80E-4EEE-93B9-C080A4E97F1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62.6137000000001</c:v>
                </c:pt>
                <c:pt idx="1">
                  <c:v>1249.0242000000001</c:v>
                </c:pt>
                <c:pt idx="2">
                  <c:v>3222.9216000000001</c:v>
                </c:pt>
                <c:pt idx="3">
                  <c:v>0</c:v>
                </c:pt>
                <c:pt idx="4">
                  <c:v>1076.3668</c:v>
                </c:pt>
                <c:pt idx="5">
                  <c:v>1162.7502999999999</c:v>
                </c:pt>
                <c:pt idx="6">
                  <c:v>1058.3978999999999</c:v>
                </c:pt>
                <c:pt idx="7">
                  <c:v>1103.0323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42.9</c:v>
                </c:pt>
                <c:pt idx="1">
                  <c:v>45.1</c:v>
                </c:pt>
                <c:pt idx="2">
                  <c:v>63.3</c:v>
                </c:pt>
                <c:pt idx="3">
                  <c:v>0</c:v>
                </c:pt>
                <c:pt idx="4">
                  <c:v>23.4</c:v>
                </c:pt>
                <c:pt idx="5">
                  <c:v>19.2</c:v>
                </c:pt>
                <c:pt idx="6">
                  <c:v>22.8</c:v>
                </c:pt>
                <c:pt idx="7">
                  <c:v>6.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1.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A1C-4177-92FB-C933C3BB2622}"/>
                </c:ext>
              </c:extLst>
            </c:dLbl>
            <c:dLbl>
              <c:idx val="5"/>
              <c:tx>
                <c:rich>
                  <a:bodyPr/>
                  <a:lstStyle/>
                  <a:p>
                    <a:r>
                      <a:t>1187.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A1C-4177-92FB-C933C3BB2622}"/>
                </c:ext>
              </c:extLst>
            </c:dLbl>
            <c:dLbl>
              <c:idx val="6"/>
              <c:tx>
                <c:rich>
                  <a:bodyPr/>
                  <a:lstStyle/>
                  <a:p>
                    <a:r>
                      <a:t>107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A1C-4177-92FB-C933C3BB2622}"/>
                </c:ext>
              </c:extLst>
            </c:dLbl>
            <c:dLbl>
              <c:idx val="7"/>
              <c:tx>
                <c:rich>
                  <a:bodyPr/>
                  <a:lstStyle/>
                  <a:p>
                    <a:r>
                      <a:t>118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A1C-4177-92FB-C933C3BB262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81.2602999999999</c:v>
                </c:pt>
                <c:pt idx="1">
                  <c:v>1227.4981</c:v>
                </c:pt>
                <c:pt idx="2">
                  <c:v>4731.5889999999999</c:v>
                </c:pt>
                <c:pt idx="3">
                  <c:v>0</c:v>
                </c:pt>
                <c:pt idx="4">
                  <c:v>1049.4966999999999</c:v>
                </c:pt>
                <c:pt idx="5">
                  <c:v>1187.2288000000001</c:v>
                </c:pt>
                <c:pt idx="6">
                  <c:v>1071.0232000000001</c:v>
                </c:pt>
                <c:pt idx="7">
                  <c:v>1184.3471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802B4A5-BE0C-4466-BB48-98354F7E7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18EE276-02F9-49E5-9DDF-C2026CECF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AA25EA0-3E35-4B0A-A2EB-DC2CF2B1D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65B99A3-7FC6-4C84-BFCD-981030188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74AD70D-4EFA-49FA-ABA8-57D774B4A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07DD110-4790-48D4-9ADC-E0DF26B57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B6A2A006-944E-4EFD-9834-BE3CDA72D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4DB7AB26-5C1D-4709-8977-79E0443C1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07079999999996</c:v>
                </c:pt>
                <c:pt idx="1">
                  <c:v>268.97649999999999</c:v>
                </c:pt>
                <c:pt idx="2">
                  <c:v>459.30149999999998</c:v>
                </c:pt>
                <c:pt idx="3">
                  <c:v>476.96530000000001</c:v>
                </c:pt>
                <c:pt idx="4">
                  <c:v>184.42080000000001</c:v>
                </c:pt>
                <c:pt idx="5">
                  <c:v>336.36070000000001</c:v>
                </c:pt>
              </c:numCache>
            </c:numRef>
          </c:xVal>
          <c:yVal>
            <c:numRef>
              <c:f>Sheet1!$B$2:$B$7</c:f>
              <c:numCache>
                <c:formatCode>General</c:formatCode>
                <c:ptCount val="6"/>
                <c:pt idx="0">
                  <c:v>3.089</c:v>
                </c:pt>
                <c:pt idx="1">
                  <c:v>0.67300000000000004</c:v>
                </c:pt>
                <c:pt idx="2">
                  <c:v>2.2429999999999999</c:v>
                </c:pt>
                <c:pt idx="3">
                  <c:v>6.548</c:v>
                </c:pt>
                <c:pt idx="4">
                  <c:v>0.37</c:v>
                </c:pt>
                <c:pt idx="5">
                  <c:v>5.226</c:v>
                </c:pt>
              </c:numCache>
            </c:numRef>
          </c:yVal>
          <c:bubbleSize>
            <c:numRef>
              <c:f>Sheet1!$C$2:$C$7</c:f>
              <c:numCache>
                <c:formatCode>General</c:formatCode>
                <c:ptCount val="6"/>
                <c:pt idx="0">
                  <c:v>2911564</c:v>
                </c:pt>
                <c:pt idx="1">
                  <c:v>1397064</c:v>
                </c:pt>
                <c:pt idx="2">
                  <c:v>953510</c:v>
                </c:pt>
                <c:pt idx="3">
                  <c:v>741204</c:v>
                </c:pt>
                <c:pt idx="4">
                  <c:v>316835</c:v>
                </c:pt>
                <c:pt idx="5">
                  <c:v>229398</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
          <c:min val="14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30.9</c:v>
                </c:pt>
                <c:pt idx="1">
                  <c:v>51.9</c:v>
                </c:pt>
                <c:pt idx="2">
                  <c:v>60.2</c:v>
                </c:pt>
                <c:pt idx="3">
                  <c:v>0</c:v>
                </c:pt>
                <c:pt idx="4">
                  <c:v>28.3</c:v>
                </c:pt>
                <c:pt idx="5">
                  <c:v>24.6</c:v>
                </c:pt>
                <c:pt idx="6">
                  <c:v>21.4</c:v>
                </c:pt>
                <c:pt idx="7">
                  <c:v>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8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83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2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8D2-42F2-8EAB-990DF6609C5C}"/>
                </c:ext>
              </c:extLst>
            </c:dLbl>
            <c:dLbl>
              <c:idx val="5"/>
              <c:tx>
                <c:rich>
                  <a:bodyPr/>
                  <a:lstStyle/>
                  <a:p>
                    <a:r>
                      <a:t>1255.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8D2-42F2-8EAB-990DF6609C5C}"/>
                </c:ext>
              </c:extLst>
            </c:dLbl>
            <c:dLbl>
              <c:idx val="6"/>
              <c:tx>
                <c:rich>
                  <a:bodyPr/>
                  <a:lstStyle/>
                  <a:p>
                    <a:r>
                      <a:t>109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8D2-42F2-8EAB-990DF6609C5C}"/>
                </c:ext>
              </c:extLst>
            </c:dLbl>
            <c:dLbl>
              <c:idx val="7"/>
              <c:tx>
                <c:rich>
                  <a:bodyPr/>
                  <a:lstStyle/>
                  <a:p>
                    <a:r>
                      <a:t>1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8D2-42F2-8EAB-990DF6609C5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91.7444</c:v>
                </c:pt>
                <c:pt idx="1">
                  <c:v>1285.3858</c:v>
                </c:pt>
                <c:pt idx="2">
                  <c:v>4830.9533000000001</c:v>
                </c:pt>
                <c:pt idx="3">
                  <c:v>0</c:v>
                </c:pt>
                <c:pt idx="4">
                  <c:v>1124.4306999999999</c:v>
                </c:pt>
                <c:pt idx="5">
                  <c:v>1255.0265999999999</c:v>
                </c:pt>
                <c:pt idx="6">
                  <c:v>1093.5084999999999</c:v>
                </c:pt>
                <c:pt idx="7">
                  <c:v>1284.7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11.1</c:v>
                </c:pt>
                <c:pt idx="1">
                  <c:v>37.799999999999997</c:v>
                </c:pt>
                <c:pt idx="2">
                  <c:v>30</c:v>
                </c:pt>
                <c:pt idx="3">
                  <c:v>0</c:v>
                </c:pt>
                <c:pt idx="4">
                  <c:v>21.8</c:v>
                </c:pt>
                <c:pt idx="5">
                  <c:v>19.600000000000001</c:v>
                </c:pt>
                <c:pt idx="6">
                  <c:v>15.6</c:v>
                </c:pt>
                <c:pt idx="7">
                  <c:v>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8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311.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208.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8FF-40FD-92CC-3F5A05E78410}"/>
                </c:ext>
              </c:extLst>
            </c:dLbl>
            <c:dLbl>
              <c:idx val="5"/>
              <c:tx>
                <c:rich>
                  <a:bodyPr/>
                  <a:lstStyle/>
                  <a:p>
                    <a:r>
                      <a:t>128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8FF-40FD-92CC-3F5A05E78410}"/>
                </c:ext>
              </c:extLst>
            </c:dLbl>
            <c:dLbl>
              <c:idx val="6"/>
              <c:tx>
                <c:rich>
                  <a:bodyPr/>
                  <a:lstStyle/>
                  <a:p>
                    <a:r>
                      <a:t>119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8FF-40FD-92CC-3F5A05E78410}"/>
                </c:ext>
              </c:extLst>
            </c:dLbl>
            <c:dLbl>
              <c:idx val="7"/>
              <c:tx>
                <c:rich>
                  <a:bodyPr/>
                  <a:lstStyle/>
                  <a:p>
                    <a:r>
                      <a:t>1296.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8FF-40FD-92CC-3F5A05E7841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82.0165</c:v>
                </c:pt>
                <c:pt idx="1">
                  <c:v>1311.7308</c:v>
                </c:pt>
                <c:pt idx="2">
                  <c:v>4208.5922</c:v>
                </c:pt>
                <c:pt idx="3">
                  <c:v>0</c:v>
                </c:pt>
                <c:pt idx="4">
                  <c:v>1182.8997999999999</c:v>
                </c:pt>
                <c:pt idx="5">
                  <c:v>1280.4899</c:v>
                </c:pt>
                <c:pt idx="6">
                  <c:v>1192.1180999999999</c:v>
                </c:pt>
                <c:pt idx="7">
                  <c:v>1296.747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870.1</c:v>
                </c:pt>
                <c:pt idx="1">
                  <c:v>194.6</c:v>
                </c:pt>
                <c:pt idx="2">
                  <c:v>397</c:v>
                </c:pt>
                <c:pt idx="3">
                  <c:v>0</c:v>
                </c:pt>
                <c:pt idx="4">
                  <c:v>152.69999999999999</c:v>
                </c:pt>
                <c:pt idx="5">
                  <c:v>51</c:v>
                </c:pt>
                <c:pt idx="6">
                  <c:v>129.5</c:v>
                </c:pt>
                <c:pt idx="7">
                  <c:v>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1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85.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3A42-4FA3-8D47-35503B6F1B6F}"/>
                </c:ext>
              </c:extLst>
            </c:dLbl>
            <c:dLbl>
              <c:idx val="5"/>
              <c:tx>
                <c:rich>
                  <a:bodyPr/>
                  <a:lstStyle/>
                  <a:p>
                    <a:r>
                      <a:t>116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3A42-4FA3-8D47-35503B6F1B6F}"/>
                </c:ext>
              </c:extLst>
            </c:dLbl>
            <c:dLbl>
              <c:idx val="6"/>
              <c:tx>
                <c:rich>
                  <a:bodyPr/>
                  <a:lstStyle/>
                  <a:p>
                    <a:r>
                      <a:t>1085.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3A42-4FA3-8D47-35503B6F1B6F}"/>
                </c:ext>
              </c:extLst>
            </c:dLbl>
            <c:dLbl>
              <c:idx val="7"/>
              <c:tx>
                <c:rich>
                  <a:bodyPr/>
                  <a:lstStyle/>
                  <a:p>
                    <a:r>
                      <a:t>589.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3A42-4FA3-8D47-35503B6F1B6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11.8489</c:v>
                </c:pt>
                <c:pt idx="1">
                  <c:v>1226.3262999999999</c:v>
                </c:pt>
                <c:pt idx="2">
                  <c:v>4735.4713000000002</c:v>
                </c:pt>
                <c:pt idx="3">
                  <c:v>0</c:v>
                </c:pt>
                <c:pt idx="4">
                  <c:v>1085.8104000000001</c:v>
                </c:pt>
                <c:pt idx="5">
                  <c:v>1169.3857</c:v>
                </c:pt>
                <c:pt idx="6">
                  <c:v>1085.1052999999999</c:v>
                </c:pt>
                <c:pt idx="7">
                  <c:v>589.3522000000000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88.6</c:v>
                </c:pt>
                <c:pt idx="1">
                  <c:v>42.4</c:v>
                </c:pt>
                <c:pt idx="2">
                  <c:v>90.8</c:v>
                </c:pt>
                <c:pt idx="3">
                  <c:v>0</c:v>
                </c:pt>
                <c:pt idx="4">
                  <c:v>29.6</c:v>
                </c:pt>
                <c:pt idx="5">
                  <c:v>11.6</c:v>
                </c:pt>
                <c:pt idx="6">
                  <c:v>25.7</c:v>
                </c:pt>
                <c:pt idx="7">
                  <c:v>0.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8.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7.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578.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6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EC08-4C85-A200-41279F556FBA}"/>
                </c:ext>
              </c:extLst>
            </c:dLbl>
            <c:dLbl>
              <c:idx val="5"/>
              <c:tx>
                <c:rich>
                  <a:bodyPr/>
                  <a:lstStyle/>
                  <a:p>
                    <a:r>
                      <a:t>1197.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EC08-4C85-A200-41279F556FBA}"/>
                </c:ext>
              </c:extLst>
            </c:dLbl>
            <c:dLbl>
              <c:idx val="6"/>
              <c:tx>
                <c:rich>
                  <a:bodyPr/>
                  <a:lstStyle/>
                  <a:p>
                    <a:r>
                      <a:t>1070.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C08-4C85-A200-41279F556FBA}"/>
                </c:ext>
              </c:extLst>
            </c:dLbl>
            <c:dLbl>
              <c:idx val="7"/>
              <c:tx>
                <c:rich>
                  <a:bodyPr/>
                  <a:lstStyle/>
                  <a:p>
                    <a:r>
                      <a:t>5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C08-4C85-A200-41279F556FB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28.5275999999999</c:v>
                </c:pt>
                <c:pt idx="1">
                  <c:v>1227.7265</c:v>
                </c:pt>
                <c:pt idx="2">
                  <c:v>4578.4647999999997</c:v>
                </c:pt>
                <c:pt idx="3">
                  <c:v>0</c:v>
                </c:pt>
                <c:pt idx="4">
                  <c:v>1068.2304999999999</c:v>
                </c:pt>
                <c:pt idx="5">
                  <c:v>1197.3814</c:v>
                </c:pt>
                <c:pt idx="6">
                  <c:v>1070.3367000000001</c:v>
                </c:pt>
                <c:pt idx="7">
                  <c:v>584.0981000000000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C2FF-4730-BE7F-5492535C2641}"/>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D$2:$D$11</c:f>
              <c:numCache>
                <c:formatCode>General</c:formatCode>
                <c:ptCount val="10"/>
                <c:pt idx="0">
                  <c:v>127</c:v>
                </c:pt>
                <c:pt idx="1">
                  <c:v>26</c:v>
                </c:pt>
                <c:pt idx="2">
                  <c:v>121.4</c:v>
                </c:pt>
                <c:pt idx="3">
                  <c:v>0</c:v>
                </c:pt>
                <c:pt idx="4">
                  <c:v>20.2</c:v>
                </c:pt>
                <c:pt idx="5">
                  <c:v>6.2</c:v>
                </c:pt>
                <c:pt idx="6">
                  <c:v>18.399999999999999</c:v>
                </c:pt>
                <c:pt idx="7">
                  <c:v>0</c:v>
                </c:pt>
                <c:pt idx="8">
                  <c:v>3.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90.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569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C2FF-4730-BE7F-5492535C2641}"/>
                </c:ext>
              </c:extLst>
            </c:dLbl>
            <c:dLbl>
              <c:idx val="5"/>
              <c:tx>
                <c:rich>
                  <a:bodyPr/>
                  <a:lstStyle/>
                  <a:p>
                    <a:r>
                      <a:t>1128.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C2FF-4730-BE7F-5492535C2641}"/>
                </c:ext>
              </c:extLst>
            </c:dLbl>
            <c:dLbl>
              <c:idx val="6"/>
              <c:tx>
                <c:rich>
                  <a:bodyPr/>
                  <a:lstStyle/>
                  <a:p>
                    <a:r>
                      <a:t>106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2FF-4730-BE7F-5492535C2641}"/>
                </c:ext>
              </c:extLst>
            </c:dLbl>
            <c:dLbl>
              <c:idx val="7"/>
              <c:tx>
                <c:rich>
                  <a:bodyPr/>
                  <a:lstStyle/>
                  <a:p>
                    <a:r>
                      <a:t>720.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2FF-4730-BE7F-5492535C2641}"/>
                </c:ext>
              </c:extLst>
            </c:dLbl>
            <c:dLbl>
              <c:idx val="8"/>
              <c:tx>
                <c:rich>
                  <a:bodyPr/>
                  <a:lstStyle/>
                  <a:p>
                    <a:r>
                      <a:t>2598.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2FF-4730-BE7F-5492535C264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2FF-4730-BE7F-5492535C264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E$2:$E$11</c:f>
              <c:numCache>
                <c:formatCode>General</c:formatCode>
                <c:ptCount val="10"/>
                <c:pt idx="0">
                  <c:v>1454.4892</c:v>
                </c:pt>
                <c:pt idx="1">
                  <c:v>1190.6584</c:v>
                </c:pt>
                <c:pt idx="2">
                  <c:v>5692.152</c:v>
                </c:pt>
                <c:pt idx="3">
                  <c:v>0</c:v>
                </c:pt>
                <c:pt idx="4">
                  <c:v>1024.1972000000001</c:v>
                </c:pt>
                <c:pt idx="5">
                  <c:v>1128.2922000000001</c:v>
                </c:pt>
                <c:pt idx="6">
                  <c:v>1069.6889000000001</c:v>
                </c:pt>
                <c:pt idx="7">
                  <c:v>720.61900000000003</c:v>
                </c:pt>
                <c:pt idx="8">
                  <c:v>2598.380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69.6</c:v>
                </c:pt>
                <c:pt idx="1">
                  <c:v>35.4</c:v>
                </c:pt>
                <c:pt idx="2">
                  <c:v>31.3</c:v>
                </c:pt>
                <c:pt idx="3">
                  <c:v>0</c:v>
                </c:pt>
                <c:pt idx="4">
                  <c:v>29.3</c:v>
                </c:pt>
                <c:pt idx="5">
                  <c:v>10.4</c:v>
                </c:pt>
                <c:pt idx="6">
                  <c:v>25.6</c:v>
                </c:pt>
                <c:pt idx="7">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6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97.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32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7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C33-4A06-AC9B-39A996AAAB6F}"/>
                </c:ext>
              </c:extLst>
            </c:dLbl>
            <c:dLbl>
              <c:idx val="5"/>
              <c:tx>
                <c:rich>
                  <a:bodyPr/>
                  <a:lstStyle/>
                  <a:p>
                    <a:r>
                      <a:t>112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C33-4A06-AC9B-39A996AAAB6F}"/>
                </c:ext>
              </c:extLst>
            </c:dLbl>
            <c:dLbl>
              <c:idx val="6"/>
              <c:tx>
                <c:rich>
                  <a:bodyPr/>
                  <a:lstStyle/>
                  <a:p>
                    <a:r>
                      <a:t>1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C33-4A06-AC9B-39A996AAAB6F}"/>
                </c:ext>
              </c:extLst>
            </c:dLbl>
            <c:dLbl>
              <c:idx val="7"/>
              <c:tx>
                <c:rich>
                  <a:bodyPr/>
                  <a:lstStyle/>
                  <a:p>
                    <a:r>
                      <a:t>547.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C33-4A06-AC9B-39A996AAAB6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62.6137000000001</c:v>
                </c:pt>
                <c:pt idx="1">
                  <c:v>1197.4894999999999</c:v>
                </c:pt>
                <c:pt idx="2">
                  <c:v>3222.9216000000001</c:v>
                </c:pt>
                <c:pt idx="3">
                  <c:v>0</c:v>
                </c:pt>
                <c:pt idx="4">
                  <c:v>1076.3668</c:v>
                </c:pt>
                <c:pt idx="5">
                  <c:v>1123.0324000000001</c:v>
                </c:pt>
                <c:pt idx="6">
                  <c:v>1058.3978999999999</c:v>
                </c:pt>
                <c:pt idx="7">
                  <c:v>547.9179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42.9</c:v>
                </c:pt>
                <c:pt idx="1">
                  <c:v>30.8</c:v>
                </c:pt>
                <c:pt idx="2">
                  <c:v>63.3</c:v>
                </c:pt>
                <c:pt idx="3">
                  <c:v>0</c:v>
                </c:pt>
                <c:pt idx="4">
                  <c:v>23.4</c:v>
                </c:pt>
                <c:pt idx="5">
                  <c:v>7.7</c:v>
                </c:pt>
                <c:pt idx="6">
                  <c:v>22.8</c:v>
                </c:pt>
                <c:pt idx="7">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1.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0.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B21-4835-A840-63249E5394DF}"/>
                </c:ext>
              </c:extLst>
            </c:dLbl>
            <c:dLbl>
              <c:idx val="5"/>
              <c:tx>
                <c:rich>
                  <a:bodyPr/>
                  <a:lstStyle/>
                  <a:p>
                    <a:r>
                      <a:t>1167.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B21-4835-A840-63249E5394DF}"/>
                </c:ext>
              </c:extLst>
            </c:dLbl>
            <c:dLbl>
              <c:idx val="6"/>
              <c:tx>
                <c:rich>
                  <a:bodyPr/>
                  <a:lstStyle/>
                  <a:p>
                    <a:r>
                      <a:t>107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B21-4835-A840-63249E5394DF}"/>
                </c:ext>
              </c:extLst>
            </c:dLbl>
            <c:dLbl>
              <c:idx val="7"/>
              <c:tx>
                <c:rich>
                  <a:bodyPr/>
                  <a:lstStyle/>
                  <a:p>
                    <a:r>
                      <a:t>59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B21-4835-A840-63249E5394D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81.2602999999999</c:v>
                </c:pt>
                <c:pt idx="1">
                  <c:v>1210.8379</c:v>
                </c:pt>
                <c:pt idx="2">
                  <c:v>4731.5889999999999</c:v>
                </c:pt>
                <c:pt idx="3">
                  <c:v>0</c:v>
                </c:pt>
                <c:pt idx="4">
                  <c:v>1049.4966999999999</c:v>
                </c:pt>
                <c:pt idx="5">
                  <c:v>1167.1128000000001</c:v>
                </c:pt>
                <c:pt idx="6">
                  <c:v>1071.0232000000001</c:v>
                </c:pt>
                <c:pt idx="7">
                  <c:v>594.513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30.9</c:v>
                </c:pt>
                <c:pt idx="1">
                  <c:v>34.5</c:v>
                </c:pt>
                <c:pt idx="2">
                  <c:v>60.2</c:v>
                </c:pt>
                <c:pt idx="3">
                  <c:v>0</c:v>
                </c:pt>
                <c:pt idx="4">
                  <c:v>28.3</c:v>
                </c:pt>
                <c:pt idx="5">
                  <c:v>9</c:v>
                </c:pt>
                <c:pt idx="6">
                  <c:v>21.4</c:v>
                </c:pt>
                <c:pt idx="7">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6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83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2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D32-4FE3-A5D6-039DC7E1F75A}"/>
                </c:ext>
              </c:extLst>
            </c:dLbl>
            <c:dLbl>
              <c:idx val="5"/>
              <c:tx>
                <c:rich>
                  <a:bodyPr/>
                  <a:lstStyle/>
                  <a:p>
                    <a:r>
                      <a:t>1197.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D32-4FE3-A5D6-039DC7E1F75A}"/>
                </c:ext>
              </c:extLst>
            </c:dLbl>
            <c:dLbl>
              <c:idx val="6"/>
              <c:tx>
                <c:rich>
                  <a:bodyPr/>
                  <a:lstStyle/>
                  <a:p>
                    <a:r>
                      <a:t>109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D32-4FE3-A5D6-039DC7E1F75A}"/>
                </c:ext>
              </c:extLst>
            </c:dLbl>
            <c:dLbl>
              <c:idx val="7"/>
              <c:tx>
                <c:rich>
                  <a:bodyPr/>
                  <a:lstStyle/>
                  <a:p>
                    <a:r>
                      <a:t>645.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D32-4FE3-A5D6-039DC7E1F75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91.7444</c:v>
                </c:pt>
                <c:pt idx="1">
                  <c:v>1264.5722000000001</c:v>
                </c:pt>
                <c:pt idx="2">
                  <c:v>4830.9533000000001</c:v>
                </c:pt>
                <c:pt idx="3">
                  <c:v>0</c:v>
                </c:pt>
                <c:pt idx="4">
                  <c:v>1124.4306999999999</c:v>
                </c:pt>
                <c:pt idx="5">
                  <c:v>1197.4555</c:v>
                </c:pt>
                <c:pt idx="6">
                  <c:v>1093.5084999999999</c:v>
                </c:pt>
                <c:pt idx="7">
                  <c:v>645.6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11.1</c:v>
                </c:pt>
                <c:pt idx="1">
                  <c:v>25.5</c:v>
                </c:pt>
                <c:pt idx="2">
                  <c:v>30</c:v>
                </c:pt>
                <c:pt idx="3">
                  <c:v>0</c:v>
                </c:pt>
                <c:pt idx="4">
                  <c:v>21.8</c:v>
                </c:pt>
                <c:pt idx="5">
                  <c:v>6.1</c:v>
                </c:pt>
                <c:pt idx="6">
                  <c:v>15.6</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8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7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208.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885-4031-9DB2-E60F1A07E615}"/>
                </c:ext>
              </c:extLst>
            </c:dLbl>
            <c:dLbl>
              <c:idx val="5"/>
              <c:tx>
                <c:rich>
                  <a:bodyPr/>
                  <a:lstStyle/>
                  <a:p>
                    <a:r>
                      <a:t>120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885-4031-9DB2-E60F1A07E615}"/>
                </c:ext>
              </c:extLst>
            </c:dLbl>
            <c:dLbl>
              <c:idx val="6"/>
              <c:tx>
                <c:rich>
                  <a:bodyPr/>
                  <a:lstStyle/>
                  <a:p>
                    <a:r>
                      <a:t>119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885-4031-9DB2-E60F1A07E615}"/>
                </c:ext>
              </c:extLst>
            </c:dLbl>
            <c:dLbl>
              <c:idx val="7"/>
              <c:tx>
                <c:rich>
                  <a:bodyPr/>
                  <a:lstStyle/>
                  <a:p>
                    <a:r>
                      <a:t>53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885-4031-9DB2-E60F1A07E61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82.0165</c:v>
                </c:pt>
                <c:pt idx="1">
                  <c:v>1272.9342999999999</c:v>
                </c:pt>
                <c:pt idx="2">
                  <c:v>4208.5922</c:v>
                </c:pt>
                <c:pt idx="3">
                  <c:v>0</c:v>
                </c:pt>
                <c:pt idx="4">
                  <c:v>1182.8997999999999</c:v>
                </c:pt>
                <c:pt idx="5">
                  <c:v>1206.636</c:v>
                </c:pt>
                <c:pt idx="6">
                  <c:v>1192.1180999999999</c:v>
                </c:pt>
                <c:pt idx="7">
                  <c:v>533.2530000000000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870.1</c:v>
                </c:pt>
                <c:pt idx="1">
                  <c:v>83.6</c:v>
                </c:pt>
                <c:pt idx="2">
                  <c:v>397</c:v>
                </c:pt>
                <c:pt idx="3">
                  <c:v>0</c:v>
                </c:pt>
                <c:pt idx="4">
                  <c:v>152.69999999999999</c:v>
                </c:pt>
                <c:pt idx="5">
                  <c:v>79.900000000000006</c:v>
                </c:pt>
                <c:pt idx="6">
                  <c:v>129.5</c:v>
                </c:pt>
                <c:pt idx="7">
                  <c:v>4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1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9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85.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D11-4717-AF3C-C117FED89F0D}"/>
                </c:ext>
              </c:extLst>
            </c:dLbl>
            <c:dLbl>
              <c:idx val="5"/>
              <c:tx>
                <c:rich>
                  <a:bodyPr/>
                  <a:lstStyle/>
                  <a:p>
                    <a:r>
                      <a:t>122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D11-4717-AF3C-C117FED89F0D}"/>
                </c:ext>
              </c:extLst>
            </c:dLbl>
            <c:dLbl>
              <c:idx val="6"/>
              <c:tx>
                <c:rich>
                  <a:bodyPr/>
                  <a:lstStyle/>
                  <a:p>
                    <a:r>
                      <a:t>1085.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D11-4717-AF3C-C117FED89F0D}"/>
                </c:ext>
              </c:extLst>
            </c:dLbl>
            <c:dLbl>
              <c:idx val="7"/>
              <c:tx>
                <c:rich>
                  <a:bodyPr/>
                  <a:lstStyle/>
                  <a:p>
                    <a:r>
                      <a:t>1218.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D11-4717-AF3C-C117FED89F0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11.8489</c:v>
                </c:pt>
                <c:pt idx="1">
                  <c:v>1199.6699000000001</c:v>
                </c:pt>
                <c:pt idx="2">
                  <c:v>4735.4713000000002</c:v>
                </c:pt>
                <c:pt idx="3">
                  <c:v>0</c:v>
                </c:pt>
                <c:pt idx="4">
                  <c:v>1085.8104000000001</c:v>
                </c:pt>
                <c:pt idx="5">
                  <c:v>1229.4118000000001</c:v>
                </c:pt>
                <c:pt idx="6">
                  <c:v>1085.1052999999999</c:v>
                </c:pt>
                <c:pt idx="7">
                  <c:v>1218.684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DECDE92-D3FE-4798-A2D0-DCE62D2A0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437F2E5-B43D-4CBC-8907-399A6B0A3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FD249A9-D9AE-4527-9089-B9729904C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911E351-5DD9-4F12-824A-76194B334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CA67A01-078B-4898-9655-53A44FAAB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74ACE62A-83CF-4161-AB14-8A9AA9C6B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78E29FB-CF0D-4464-9376-79654BCC8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F9D659A-2885-4F51-97FA-596000D84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3.33459999999999</c:v>
                </c:pt>
                <c:pt idx="1">
                  <c:v>240.1936</c:v>
                </c:pt>
                <c:pt idx="2">
                  <c:v>76.3673</c:v>
                </c:pt>
                <c:pt idx="3">
                  <c:v>74.201899999999995</c:v>
                </c:pt>
                <c:pt idx="4">
                  <c:v>688.12819999999999</c:v>
                </c:pt>
                <c:pt idx="5">
                  <c:v>577.55870000000004</c:v>
                </c:pt>
                <c:pt idx="6">
                  <c:v>135.7533</c:v>
                </c:pt>
              </c:numCache>
            </c:numRef>
          </c:xVal>
          <c:yVal>
            <c:numRef>
              <c:f>Sheet1!$B$2:$B$8</c:f>
              <c:numCache>
                <c:formatCode>General</c:formatCode>
                <c:ptCount val="7"/>
                <c:pt idx="0">
                  <c:v>1.2829999999999999</c:v>
                </c:pt>
                <c:pt idx="1">
                  <c:v>1.079</c:v>
                </c:pt>
                <c:pt idx="2">
                  <c:v>0.52100000000000002</c:v>
                </c:pt>
                <c:pt idx="3">
                  <c:v>0.54900000000000004</c:v>
                </c:pt>
                <c:pt idx="4">
                  <c:v>4.0759999999999996</c:v>
                </c:pt>
                <c:pt idx="5">
                  <c:v>2.6150000000000002</c:v>
                </c:pt>
                <c:pt idx="6">
                  <c:v>0.52200000000000002</c:v>
                </c:pt>
              </c:numCache>
            </c:numRef>
          </c:yVal>
          <c:bubbleSize>
            <c:numRef>
              <c:f>Sheet1!$C$2:$C$8</c:f>
              <c:numCache>
                <c:formatCode>General</c:formatCode>
                <c:ptCount val="7"/>
                <c:pt idx="0">
                  <c:v>61277586</c:v>
                </c:pt>
                <c:pt idx="1">
                  <c:v>40429874</c:v>
                </c:pt>
                <c:pt idx="2">
                  <c:v>13143504</c:v>
                </c:pt>
                <c:pt idx="3">
                  <c:v>5378671</c:v>
                </c:pt>
                <c:pt idx="4">
                  <c:v>2039612</c:v>
                </c:pt>
                <c:pt idx="5">
                  <c:v>1819310</c:v>
                </c:pt>
                <c:pt idx="6">
                  <c:v>490341</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Hawaiian Tropic</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6"/>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88.6</c:v>
                </c:pt>
                <c:pt idx="1">
                  <c:v>18.600000000000001</c:v>
                </c:pt>
                <c:pt idx="2">
                  <c:v>90.8</c:v>
                </c:pt>
                <c:pt idx="3">
                  <c:v>0</c:v>
                </c:pt>
                <c:pt idx="4">
                  <c:v>29.6</c:v>
                </c:pt>
                <c:pt idx="5">
                  <c:v>13.5</c:v>
                </c:pt>
                <c:pt idx="6">
                  <c:v>25.7</c:v>
                </c:pt>
                <c:pt idx="7">
                  <c:v>7.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8.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3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578.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6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B4E-462D-A976-9AC1CEC65B6B}"/>
                </c:ext>
              </c:extLst>
            </c:dLbl>
            <c:dLbl>
              <c:idx val="5"/>
              <c:tx>
                <c:rich>
                  <a:bodyPr/>
                  <a:lstStyle/>
                  <a:p>
                    <a:r>
                      <a:t>1223.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B4E-462D-A976-9AC1CEC65B6B}"/>
                </c:ext>
              </c:extLst>
            </c:dLbl>
            <c:dLbl>
              <c:idx val="6"/>
              <c:tx>
                <c:rich>
                  <a:bodyPr/>
                  <a:lstStyle/>
                  <a:p>
                    <a:r>
                      <a:t>1070.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B4E-462D-A976-9AC1CEC65B6B}"/>
                </c:ext>
              </c:extLst>
            </c:dLbl>
            <c:dLbl>
              <c:idx val="7"/>
              <c:tx>
                <c:rich>
                  <a:bodyPr/>
                  <a:lstStyle/>
                  <a:p>
                    <a:r>
                      <a:t>12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B4E-462D-A976-9AC1CEC65B6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28.5275999999999</c:v>
                </c:pt>
                <c:pt idx="1">
                  <c:v>1138.0437999999999</c:v>
                </c:pt>
                <c:pt idx="2">
                  <c:v>4578.4647999999997</c:v>
                </c:pt>
                <c:pt idx="3">
                  <c:v>0</c:v>
                </c:pt>
                <c:pt idx="4">
                  <c:v>1068.2304999999999</c:v>
                </c:pt>
                <c:pt idx="5">
                  <c:v>1223.3517999999999</c:v>
                </c:pt>
                <c:pt idx="6">
                  <c:v>1070.3367000000001</c:v>
                </c:pt>
                <c:pt idx="7">
                  <c:v>1222.9033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EC73-4C75-AB6F-1384F6FE86C2}"/>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D$2:$D$11</c:f>
              <c:numCache>
                <c:formatCode>General</c:formatCode>
                <c:ptCount val="10"/>
                <c:pt idx="0">
                  <c:v>127</c:v>
                </c:pt>
                <c:pt idx="1">
                  <c:v>13.9</c:v>
                </c:pt>
                <c:pt idx="2">
                  <c:v>121.4</c:v>
                </c:pt>
                <c:pt idx="3">
                  <c:v>0</c:v>
                </c:pt>
                <c:pt idx="4">
                  <c:v>20.2</c:v>
                </c:pt>
                <c:pt idx="5">
                  <c:v>10.9</c:v>
                </c:pt>
                <c:pt idx="6">
                  <c:v>18.399999999999999</c:v>
                </c:pt>
                <c:pt idx="7">
                  <c:v>6.3</c:v>
                </c:pt>
                <c:pt idx="8">
                  <c:v>3.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9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569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C73-4C75-AB6F-1384F6FE86C2}"/>
                </c:ext>
              </c:extLst>
            </c:dLbl>
            <c:dLbl>
              <c:idx val="5"/>
              <c:tx>
                <c:rich>
                  <a:bodyPr/>
                  <a:lstStyle/>
                  <a:p>
                    <a:r>
                      <a:t>11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C73-4C75-AB6F-1384F6FE86C2}"/>
                </c:ext>
              </c:extLst>
            </c:dLbl>
            <c:dLbl>
              <c:idx val="6"/>
              <c:tx>
                <c:rich>
                  <a:bodyPr/>
                  <a:lstStyle/>
                  <a:p>
                    <a:r>
                      <a:t>106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EC73-4C75-AB6F-1384F6FE86C2}"/>
                </c:ext>
              </c:extLst>
            </c:dLbl>
            <c:dLbl>
              <c:idx val="7"/>
              <c:tx>
                <c:rich>
                  <a:bodyPr/>
                  <a:lstStyle/>
                  <a:p>
                    <a:r>
                      <a:t>1180.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EC73-4C75-AB6F-1384F6FE86C2}"/>
                </c:ext>
              </c:extLst>
            </c:dLbl>
            <c:dLbl>
              <c:idx val="8"/>
              <c:tx>
                <c:rich>
                  <a:bodyPr/>
                  <a:lstStyle/>
                  <a:p>
                    <a:r>
                      <a:t>2598.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EC73-4C75-AB6F-1384F6FE86C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EC73-4C75-AB6F-1384F6FE86C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E$2:$E$11</c:f>
              <c:numCache>
                <c:formatCode>General</c:formatCode>
                <c:ptCount val="10"/>
                <c:pt idx="0">
                  <c:v>1454.4892</c:v>
                </c:pt>
                <c:pt idx="1">
                  <c:v>1196.3683000000001</c:v>
                </c:pt>
                <c:pt idx="2">
                  <c:v>5692.152</c:v>
                </c:pt>
                <c:pt idx="3">
                  <c:v>0</c:v>
                </c:pt>
                <c:pt idx="4">
                  <c:v>1024.1972000000001</c:v>
                </c:pt>
                <c:pt idx="5">
                  <c:v>1141.2</c:v>
                </c:pt>
                <c:pt idx="6">
                  <c:v>1069.6889000000001</c:v>
                </c:pt>
                <c:pt idx="7">
                  <c:v>1180.2494999999999</c:v>
                </c:pt>
                <c:pt idx="8">
                  <c:v>2598.380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69.6</c:v>
                </c:pt>
                <c:pt idx="1">
                  <c:v>12.2</c:v>
                </c:pt>
                <c:pt idx="2">
                  <c:v>31.3</c:v>
                </c:pt>
                <c:pt idx="3">
                  <c:v>0</c:v>
                </c:pt>
                <c:pt idx="4">
                  <c:v>29.3</c:v>
                </c:pt>
                <c:pt idx="5">
                  <c:v>14.8</c:v>
                </c:pt>
                <c:pt idx="6">
                  <c:v>25.6</c:v>
                </c:pt>
                <c:pt idx="7">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6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68.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32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7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03F-4762-832A-A78D5D53B376}"/>
                </c:ext>
              </c:extLst>
            </c:dLbl>
            <c:dLbl>
              <c:idx val="5"/>
              <c:tx>
                <c:rich>
                  <a:bodyPr/>
                  <a:lstStyle/>
                  <a:p>
                    <a:r>
                      <a:t>119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03F-4762-832A-A78D5D53B376}"/>
                </c:ext>
              </c:extLst>
            </c:dLbl>
            <c:dLbl>
              <c:idx val="6"/>
              <c:tx>
                <c:rich>
                  <a:bodyPr/>
                  <a:lstStyle/>
                  <a:p>
                    <a:r>
                      <a:t>1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03F-4762-832A-A78D5D53B376}"/>
                </c:ext>
              </c:extLst>
            </c:dLbl>
            <c:dLbl>
              <c:idx val="7"/>
              <c:tx>
                <c:rich>
                  <a:bodyPr/>
                  <a:lstStyle/>
                  <a:p>
                    <a:r>
                      <a:t>1115.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03F-4762-832A-A78D5D53B37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62.6137000000001</c:v>
                </c:pt>
                <c:pt idx="1">
                  <c:v>1268.373</c:v>
                </c:pt>
                <c:pt idx="2">
                  <c:v>3222.9216000000001</c:v>
                </c:pt>
                <c:pt idx="3">
                  <c:v>0</c:v>
                </c:pt>
                <c:pt idx="4">
                  <c:v>1076.3668</c:v>
                </c:pt>
                <c:pt idx="5">
                  <c:v>1192.3958</c:v>
                </c:pt>
                <c:pt idx="6">
                  <c:v>1058.3978999999999</c:v>
                </c:pt>
                <c:pt idx="7">
                  <c:v>1115.4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42.9</c:v>
                </c:pt>
                <c:pt idx="1">
                  <c:v>12.5</c:v>
                </c:pt>
                <c:pt idx="2">
                  <c:v>63.3</c:v>
                </c:pt>
                <c:pt idx="3">
                  <c:v>0</c:v>
                </c:pt>
                <c:pt idx="4">
                  <c:v>23.4</c:v>
                </c:pt>
                <c:pt idx="5">
                  <c:v>11.5</c:v>
                </c:pt>
                <c:pt idx="6">
                  <c:v>22.8</c:v>
                </c:pt>
                <c:pt idx="7">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1.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46.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1C9-4935-B2DF-2B4E8AB75AD5}"/>
                </c:ext>
              </c:extLst>
            </c:dLbl>
            <c:dLbl>
              <c:idx val="5"/>
              <c:tx>
                <c:rich>
                  <a:bodyPr/>
                  <a:lstStyle/>
                  <a:p>
                    <a:r>
                      <a:t>120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1C9-4935-B2DF-2B4E8AB75AD5}"/>
                </c:ext>
              </c:extLst>
            </c:dLbl>
            <c:dLbl>
              <c:idx val="6"/>
              <c:tx>
                <c:rich>
                  <a:bodyPr/>
                  <a:lstStyle/>
                  <a:p>
                    <a:r>
                      <a:t>107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1C9-4935-B2DF-2B4E8AB75AD5}"/>
                </c:ext>
              </c:extLst>
            </c:dLbl>
            <c:dLbl>
              <c:idx val="7"/>
              <c:tx>
                <c:rich>
                  <a:bodyPr/>
                  <a:lstStyle/>
                  <a:p>
                    <a:r>
                      <a:t>1207.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1C9-4935-B2DF-2B4E8AB75AD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81.2602999999999</c:v>
                </c:pt>
                <c:pt idx="1">
                  <c:v>1146.1889000000001</c:v>
                </c:pt>
                <c:pt idx="2">
                  <c:v>4731.5889999999999</c:v>
                </c:pt>
                <c:pt idx="3">
                  <c:v>0</c:v>
                </c:pt>
                <c:pt idx="4">
                  <c:v>1049.4966999999999</c:v>
                </c:pt>
                <c:pt idx="5">
                  <c:v>1201.0353</c:v>
                </c:pt>
                <c:pt idx="6">
                  <c:v>1071.0232000000001</c:v>
                </c:pt>
                <c:pt idx="7">
                  <c:v>1207.6943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30.9</c:v>
                </c:pt>
                <c:pt idx="1">
                  <c:v>15.5</c:v>
                </c:pt>
                <c:pt idx="2">
                  <c:v>60.2</c:v>
                </c:pt>
                <c:pt idx="3">
                  <c:v>0</c:v>
                </c:pt>
                <c:pt idx="4">
                  <c:v>28.3</c:v>
                </c:pt>
                <c:pt idx="5">
                  <c:v>15.6</c:v>
                </c:pt>
                <c:pt idx="6">
                  <c:v>21.4</c:v>
                </c:pt>
                <c:pt idx="7">
                  <c:v>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83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2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1C9-4969-9A0C-BE4E87422A29}"/>
                </c:ext>
              </c:extLst>
            </c:dLbl>
            <c:dLbl>
              <c:idx val="5"/>
              <c:tx>
                <c:rich>
                  <a:bodyPr/>
                  <a:lstStyle/>
                  <a:p>
                    <a:r>
                      <a:t>1290.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1C9-4969-9A0C-BE4E87422A29}"/>
                </c:ext>
              </c:extLst>
            </c:dLbl>
            <c:dLbl>
              <c:idx val="6"/>
              <c:tx>
                <c:rich>
                  <a:bodyPr/>
                  <a:lstStyle/>
                  <a:p>
                    <a:r>
                      <a:t>109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51C9-4969-9A0C-BE4E87422A29}"/>
                </c:ext>
              </c:extLst>
            </c:dLbl>
            <c:dLbl>
              <c:idx val="7"/>
              <c:tx>
                <c:rich>
                  <a:bodyPr/>
                  <a:lstStyle/>
                  <a:p>
                    <a:r>
                      <a:t>1293.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51C9-4969-9A0C-BE4E87422A2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91.7444</c:v>
                </c:pt>
                <c:pt idx="1">
                  <c:v>1221.9372000000001</c:v>
                </c:pt>
                <c:pt idx="2">
                  <c:v>4830.9533000000001</c:v>
                </c:pt>
                <c:pt idx="3">
                  <c:v>0</c:v>
                </c:pt>
                <c:pt idx="4">
                  <c:v>1124.4306999999999</c:v>
                </c:pt>
                <c:pt idx="5">
                  <c:v>1290.6052</c:v>
                </c:pt>
                <c:pt idx="6">
                  <c:v>1093.5084999999999</c:v>
                </c:pt>
                <c:pt idx="7">
                  <c:v>1293.8791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11.1</c:v>
                </c:pt>
                <c:pt idx="1">
                  <c:v>10.9</c:v>
                </c:pt>
                <c:pt idx="2">
                  <c:v>30</c:v>
                </c:pt>
                <c:pt idx="3">
                  <c:v>0</c:v>
                </c:pt>
                <c:pt idx="4">
                  <c:v>21.8</c:v>
                </c:pt>
                <c:pt idx="5">
                  <c:v>13.5</c:v>
                </c:pt>
                <c:pt idx="6">
                  <c:v>15.6</c:v>
                </c:pt>
                <c:pt idx="7">
                  <c:v>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8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80.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208.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921-4C5D-BCCF-0E297FFA25D0}"/>
                </c:ext>
              </c:extLst>
            </c:dLbl>
            <c:dLbl>
              <c:idx val="5"/>
              <c:tx>
                <c:rich>
                  <a:bodyPr/>
                  <a:lstStyle/>
                  <a:p>
                    <a:r>
                      <a:t>131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921-4C5D-BCCF-0E297FFA25D0}"/>
                </c:ext>
              </c:extLst>
            </c:dLbl>
            <c:dLbl>
              <c:idx val="6"/>
              <c:tx>
                <c:rich>
                  <a:bodyPr/>
                  <a:lstStyle/>
                  <a:p>
                    <a:r>
                      <a:t>119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921-4C5D-BCCF-0E297FFA25D0}"/>
                </c:ext>
              </c:extLst>
            </c:dLbl>
            <c:dLbl>
              <c:idx val="7"/>
              <c:tx>
                <c:rich>
                  <a:bodyPr/>
                  <a:lstStyle/>
                  <a:p>
                    <a:r>
                      <a:t>13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921-4C5D-BCCF-0E297FFA25D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82.0165</c:v>
                </c:pt>
                <c:pt idx="1">
                  <c:v>1280.6945000000001</c:v>
                </c:pt>
                <c:pt idx="2">
                  <c:v>4208.5922</c:v>
                </c:pt>
                <c:pt idx="3">
                  <c:v>0</c:v>
                </c:pt>
                <c:pt idx="4">
                  <c:v>1182.8997999999999</c:v>
                </c:pt>
                <c:pt idx="5">
                  <c:v>1316.9888000000001</c:v>
                </c:pt>
                <c:pt idx="6">
                  <c:v>1192.1180999999999</c:v>
                </c:pt>
                <c:pt idx="7">
                  <c:v>1311.64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870.1</c:v>
                </c:pt>
                <c:pt idx="1">
                  <c:v>12.5</c:v>
                </c:pt>
                <c:pt idx="2">
                  <c:v>397</c:v>
                </c:pt>
                <c:pt idx="3">
                  <c:v>0</c:v>
                </c:pt>
                <c:pt idx="4">
                  <c:v>152.69999999999999</c:v>
                </c:pt>
                <c:pt idx="5">
                  <c:v>0</c:v>
                </c:pt>
                <c:pt idx="6">
                  <c:v>129.5</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1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85.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D30-48D5-B334-6C986438D67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D30-48D5-B334-6C986438D670}"/>
                </c:ext>
              </c:extLst>
            </c:dLbl>
            <c:dLbl>
              <c:idx val="6"/>
              <c:tx>
                <c:rich>
                  <a:bodyPr/>
                  <a:lstStyle/>
                  <a:p>
                    <a:r>
                      <a:t>1085.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D30-48D5-B334-6C986438D67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D30-48D5-B334-6C986438D67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11.8489</c:v>
                </c:pt>
                <c:pt idx="1">
                  <c:v>4025.5318000000002</c:v>
                </c:pt>
                <c:pt idx="2">
                  <c:v>4735.4713000000002</c:v>
                </c:pt>
                <c:pt idx="3">
                  <c:v>0</c:v>
                </c:pt>
                <c:pt idx="4">
                  <c:v>1085.8104000000001</c:v>
                </c:pt>
                <c:pt idx="5">
                  <c:v>0</c:v>
                </c:pt>
                <c:pt idx="6">
                  <c:v>1085.1052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88.6</c:v>
                </c:pt>
                <c:pt idx="1">
                  <c:v>3</c:v>
                </c:pt>
                <c:pt idx="2">
                  <c:v>90.8</c:v>
                </c:pt>
                <c:pt idx="3">
                  <c:v>0</c:v>
                </c:pt>
                <c:pt idx="4">
                  <c:v>29.6</c:v>
                </c:pt>
                <c:pt idx="5">
                  <c:v>0</c:v>
                </c:pt>
                <c:pt idx="6">
                  <c:v>25.7</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8.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578.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6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36E-4D8A-972F-2E2C9642E2C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36E-4D8A-972F-2E2C9642E2C9}"/>
                </c:ext>
              </c:extLst>
            </c:dLbl>
            <c:dLbl>
              <c:idx val="6"/>
              <c:tx>
                <c:rich>
                  <a:bodyPr/>
                  <a:lstStyle/>
                  <a:p>
                    <a:r>
                      <a:t>1070.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C36E-4D8A-972F-2E2C9642E2C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C36E-4D8A-972F-2E2C9642E2C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28.5275999999999</c:v>
                </c:pt>
                <c:pt idx="1">
                  <c:v>4341.9049999999997</c:v>
                </c:pt>
                <c:pt idx="2">
                  <c:v>4578.4647999999997</c:v>
                </c:pt>
                <c:pt idx="3">
                  <c:v>0</c:v>
                </c:pt>
                <c:pt idx="4">
                  <c:v>1068.2304999999999</c:v>
                </c:pt>
                <c:pt idx="5">
                  <c:v>0</c:v>
                </c:pt>
                <c:pt idx="6">
                  <c:v>1070.3367000000001</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B3F-4DED-B661-D9236CF067A0}"/>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D$2:$D$11</c:f>
              <c:numCache>
                <c:formatCode>General</c:formatCode>
                <c:ptCount val="10"/>
                <c:pt idx="0">
                  <c:v>127</c:v>
                </c:pt>
                <c:pt idx="1">
                  <c:v>1.9</c:v>
                </c:pt>
                <c:pt idx="2">
                  <c:v>121.4</c:v>
                </c:pt>
                <c:pt idx="3">
                  <c:v>0</c:v>
                </c:pt>
                <c:pt idx="4">
                  <c:v>20.2</c:v>
                </c:pt>
                <c:pt idx="5">
                  <c:v>0</c:v>
                </c:pt>
                <c:pt idx="6">
                  <c:v>18.399999999999999</c:v>
                </c:pt>
                <c:pt idx="7">
                  <c:v>0</c:v>
                </c:pt>
                <c:pt idx="8">
                  <c:v>3.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569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B3F-4DED-B661-D9236CF067A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B3F-4DED-B661-D9236CF067A0}"/>
                </c:ext>
              </c:extLst>
            </c:dLbl>
            <c:dLbl>
              <c:idx val="6"/>
              <c:tx>
                <c:rich>
                  <a:bodyPr/>
                  <a:lstStyle/>
                  <a:p>
                    <a:r>
                      <a:t>106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B3F-4DED-B661-D9236CF067A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B3F-4DED-B661-D9236CF067A0}"/>
                </c:ext>
              </c:extLst>
            </c:dLbl>
            <c:dLbl>
              <c:idx val="8"/>
              <c:tx>
                <c:rich>
                  <a:bodyPr/>
                  <a:lstStyle/>
                  <a:p>
                    <a:r>
                      <a:t>2598.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B3F-4DED-B661-D9236CF067A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B3F-4DED-B661-D9236CF067A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E$2:$E$11</c:f>
              <c:numCache>
                <c:formatCode>General</c:formatCode>
                <c:ptCount val="10"/>
                <c:pt idx="0">
                  <c:v>1454.4892</c:v>
                </c:pt>
                <c:pt idx="1">
                  <c:v>4279.4597999999996</c:v>
                </c:pt>
                <c:pt idx="2">
                  <c:v>5692.152</c:v>
                </c:pt>
                <c:pt idx="3">
                  <c:v>0</c:v>
                </c:pt>
                <c:pt idx="4">
                  <c:v>1024.1972000000001</c:v>
                </c:pt>
                <c:pt idx="5">
                  <c:v>0</c:v>
                </c:pt>
                <c:pt idx="6">
                  <c:v>1069.6889000000001</c:v>
                </c:pt>
                <c:pt idx="7">
                  <c:v>0</c:v>
                </c:pt>
                <c:pt idx="8">
                  <c:v>2598.380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69.6</c:v>
                </c:pt>
                <c:pt idx="1">
                  <c:v>2.2000000000000002</c:v>
                </c:pt>
                <c:pt idx="2">
                  <c:v>31.3</c:v>
                </c:pt>
                <c:pt idx="3">
                  <c:v>0</c:v>
                </c:pt>
                <c:pt idx="4">
                  <c:v>29.3</c:v>
                </c:pt>
                <c:pt idx="5">
                  <c:v>0</c:v>
                </c:pt>
                <c:pt idx="6">
                  <c:v>25.6</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6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310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32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7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E63E-4723-9B68-219865B0968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E63E-4723-9B68-219865B0968C}"/>
                </c:ext>
              </c:extLst>
            </c:dLbl>
            <c:dLbl>
              <c:idx val="6"/>
              <c:tx>
                <c:rich>
                  <a:bodyPr/>
                  <a:lstStyle/>
                  <a:p>
                    <a:r>
                      <a:t>1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63E-4723-9B68-219865B0968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63E-4723-9B68-219865B0968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62.6137000000001</c:v>
                </c:pt>
                <c:pt idx="1">
                  <c:v>3103.4389000000001</c:v>
                </c:pt>
                <c:pt idx="2">
                  <c:v>3222.9216000000001</c:v>
                </c:pt>
                <c:pt idx="3">
                  <c:v>0</c:v>
                </c:pt>
                <c:pt idx="4">
                  <c:v>1076.3668</c:v>
                </c:pt>
                <c:pt idx="5">
                  <c:v>0</c:v>
                </c:pt>
                <c:pt idx="6">
                  <c:v>1058.3978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66D762-8D78-4F62-84CF-88F1BA2EB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C8BBA5-ABC7-4F78-BAF9-EAD814D31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DEE0F6-32A8-4DE9-92B0-B5F18E307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447F53-543A-488C-B25E-A5D17512A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91EEF5-D9C6-4A78-93A8-6513FD469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77D808-3004-4171-A426-C4CF759FE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52969C-C566-40E5-A5E4-C957ED26A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83A137-7289-484E-98D8-1898764FA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503</c:v>
                </c:pt>
                <c:pt idx="1">
                  <c:v>196.37209999999999</c:v>
                </c:pt>
                <c:pt idx="2">
                  <c:v>216.8486</c:v>
                </c:pt>
                <c:pt idx="3">
                  <c:v>291.04020000000003</c:v>
                </c:pt>
                <c:pt idx="4">
                  <c:v>590.76559999999995</c:v>
                </c:pt>
                <c:pt idx="5">
                  <c:v>87.442599999999999</c:v>
                </c:pt>
                <c:pt idx="6">
                  <c:v>569.71199999999999</c:v>
                </c:pt>
                <c:pt idx="7">
                  <c:v>227.98609999999999</c:v>
                </c:pt>
              </c:numCache>
            </c:numRef>
          </c:xVal>
          <c:yVal>
            <c:numRef>
              <c:f>Sheet1!$B$2:$B$9</c:f>
              <c:numCache>
                <c:formatCode>General</c:formatCode>
                <c:ptCount val="8"/>
                <c:pt idx="0">
                  <c:v>1.0029999999999999</c:v>
                </c:pt>
                <c:pt idx="1">
                  <c:v>0.71</c:v>
                </c:pt>
                <c:pt idx="2">
                  <c:v>0.68100000000000005</c:v>
                </c:pt>
                <c:pt idx="3">
                  <c:v>1.8939999999999999</c:v>
                </c:pt>
                <c:pt idx="4">
                  <c:v>3.9169999999999998</c:v>
                </c:pt>
                <c:pt idx="5">
                  <c:v>0.39300000000000002</c:v>
                </c:pt>
                <c:pt idx="6">
                  <c:v>4.8410000000000002</c:v>
                </c:pt>
                <c:pt idx="7">
                  <c:v>2.5230000000000001</c:v>
                </c:pt>
              </c:numCache>
            </c:numRef>
          </c:yVal>
          <c:bubbleSize>
            <c:numRef>
              <c:f>Sheet1!$C$2:$C$9</c:f>
              <c:numCache>
                <c:formatCode>General</c:formatCode>
                <c:ptCount val="8"/>
                <c:pt idx="0">
                  <c:v>98282653</c:v>
                </c:pt>
                <c:pt idx="1">
                  <c:v>54081083</c:v>
                </c:pt>
                <c:pt idx="2">
                  <c:v>32135440</c:v>
                </c:pt>
                <c:pt idx="3">
                  <c:v>28036189</c:v>
                </c:pt>
                <c:pt idx="4">
                  <c:v>24994112</c:v>
                </c:pt>
                <c:pt idx="5">
                  <c:v>10334315</c:v>
                </c:pt>
                <c:pt idx="6">
                  <c:v>8938211</c:v>
                </c:pt>
                <c:pt idx="7">
                  <c:v>30176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42.9</c:v>
                </c:pt>
                <c:pt idx="1">
                  <c:v>1.8</c:v>
                </c:pt>
                <c:pt idx="2">
                  <c:v>63.3</c:v>
                </c:pt>
                <c:pt idx="3">
                  <c:v>0</c:v>
                </c:pt>
                <c:pt idx="4">
                  <c:v>23.4</c:v>
                </c:pt>
                <c:pt idx="5">
                  <c:v>0</c:v>
                </c:pt>
                <c:pt idx="6">
                  <c:v>22.8</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1.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83C-454E-9650-12AC98CCD87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83C-454E-9650-12AC98CCD87E}"/>
                </c:ext>
              </c:extLst>
            </c:dLbl>
            <c:dLbl>
              <c:idx val="6"/>
              <c:tx>
                <c:rich>
                  <a:bodyPr/>
                  <a:lstStyle/>
                  <a:p>
                    <a:r>
                      <a:t>107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83C-454E-9650-12AC98CCD87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83C-454E-9650-12AC98CCD87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81.2602999999999</c:v>
                </c:pt>
                <c:pt idx="1">
                  <c:v>4233.1399000000001</c:v>
                </c:pt>
                <c:pt idx="2">
                  <c:v>4731.5889999999999</c:v>
                </c:pt>
                <c:pt idx="3">
                  <c:v>0</c:v>
                </c:pt>
                <c:pt idx="4">
                  <c:v>1049.4966999999999</c:v>
                </c:pt>
                <c:pt idx="5">
                  <c:v>0</c:v>
                </c:pt>
                <c:pt idx="6">
                  <c:v>1071.0232000000001</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30.9</c:v>
                </c:pt>
                <c:pt idx="1">
                  <c:v>2</c:v>
                </c:pt>
                <c:pt idx="2">
                  <c:v>60.2</c:v>
                </c:pt>
                <c:pt idx="3">
                  <c:v>0</c:v>
                </c:pt>
                <c:pt idx="4">
                  <c:v>28.3</c:v>
                </c:pt>
                <c:pt idx="5">
                  <c:v>0</c:v>
                </c:pt>
                <c:pt idx="6">
                  <c:v>21.4</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83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2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341-4124-8467-EDCD7DA69DF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341-4124-8467-EDCD7DA69DF0}"/>
                </c:ext>
              </c:extLst>
            </c:dLbl>
            <c:dLbl>
              <c:idx val="6"/>
              <c:tx>
                <c:rich>
                  <a:bodyPr/>
                  <a:lstStyle/>
                  <a:p>
                    <a:r>
                      <a:t>109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341-4124-8467-EDCD7DA69DF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341-4124-8467-EDCD7DA69DF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91.7444</c:v>
                </c:pt>
                <c:pt idx="1">
                  <c:v>4326.9489999999996</c:v>
                </c:pt>
                <c:pt idx="2">
                  <c:v>4830.9533000000001</c:v>
                </c:pt>
                <c:pt idx="3">
                  <c:v>0</c:v>
                </c:pt>
                <c:pt idx="4">
                  <c:v>1124.4306999999999</c:v>
                </c:pt>
                <c:pt idx="5">
                  <c:v>0</c:v>
                </c:pt>
                <c:pt idx="6">
                  <c:v>1093.5084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11.1</c:v>
                </c:pt>
                <c:pt idx="1">
                  <c:v>1.5</c:v>
                </c:pt>
                <c:pt idx="2">
                  <c:v>30</c:v>
                </c:pt>
                <c:pt idx="3">
                  <c:v>0</c:v>
                </c:pt>
                <c:pt idx="4">
                  <c:v>21.8</c:v>
                </c:pt>
                <c:pt idx="5">
                  <c:v>0</c:v>
                </c:pt>
                <c:pt idx="6">
                  <c:v>15.6</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8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208.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ADA-4ADC-A4D7-C37249BDFAF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ADA-4ADC-A4D7-C37249BDFAF1}"/>
                </c:ext>
              </c:extLst>
            </c:dLbl>
            <c:dLbl>
              <c:idx val="6"/>
              <c:tx>
                <c:rich>
                  <a:bodyPr/>
                  <a:lstStyle/>
                  <a:p>
                    <a:r>
                      <a:t>119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ADA-4ADC-A4D7-C37249BDFAF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ADA-4ADC-A4D7-C37249BDFAF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82.0165</c:v>
                </c:pt>
                <c:pt idx="1">
                  <c:v>4326.4348</c:v>
                </c:pt>
                <c:pt idx="2">
                  <c:v>4208.5922</c:v>
                </c:pt>
                <c:pt idx="3">
                  <c:v>0</c:v>
                </c:pt>
                <c:pt idx="4">
                  <c:v>1182.8997999999999</c:v>
                </c:pt>
                <c:pt idx="5">
                  <c:v>0</c:v>
                </c:pt>
                <c:pt idx="6">
                  <c:v>1192.1180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9FB2-40B8-B8B9-331B3010E347}"/>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9FB2-40B8-B8B9-331B3010E347}"/>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712.9</c:v>
                </c:pt>
                <c:pt idx="1">
                  <c:v>133.19999999999999</c:v>
                </c:pt>
                <c:pt idx="2">
                  <c:v>331.7</c:v>
                </c:pt>
                <c:pt idx="3">
                  <c:v>175.2</c:v>
                </c:pt>
                <c:pt idx="4">
                  <c:v>124.4</c:v>
                </c:pt>
                <c:pt idx="5">
                  <c:v>77.5</c:v>
                </c:pt>
                <c:pt idx="6">
                  <c:v>102.2</c:v>
                </c:pt>
                <c:pt idx="7">
                  <c:v>0</c:v>
                </c:pt>
                <c:pt idx="8">
                  <c:v>54.3</c:v>
                </c:pt>
                <c:pt idx="9">
                  <c:v>0.7</c:v>
                </c:pt>
                <c:pt idx="10">
                  <c:v>34.5</c:v>
                </c:pt>
                <c:pt idx="11">
                  <c:v>5.2</c:v>
                </c:pt>
                <c:pt idx="12">
                  <c:v>32.299999999999997</c:v>
                </c:pt>
                <c:pt idx="13">
                  <c:v>0.5</c:v>
                </c:pt>
                <c:pt idx="14">
                  <c:v>26.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40.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1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40.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1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FB2-40B8-B8B9-331B3010E347}"/>
                </c:ext>
              </c:extLst>
            </c:dLbl>
            <c:dLbl>
              <c:idx val="5"/>
              <c:tx>
                <c:rich>
                  <a:bodyPr/>
                  <a:lstStyle/>
                  <a:p>
                    <a:r>
                      <a:t>13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FB2-40B8-B8B9-331B3010E347}"/>
                </c:ext>
              </c:extLst>
            </c:dLbl>
            <c:dLbl>
              <c:idx val="6"/>
              <c:tx>
                <c:rich>
                  <a:bodyPr/>
                  <a:lstStyle/>
                  <a:p>
                    <a:r>
                      <a:t>17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FB2-40B8-B8B9-331B3010E34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FB2-40B8-B8B9-331B3010E347}"/>
                </c:ext>
              </c:extLst>
            </c:dLbl>
            <c:dLbl>
              <c:idx val="8"/>
              <c:tx>
                <c:rich>
                  <a:bodyPr/>
                  <a:lstStyle/>
                  <a:p>
                    <a:r>
                      <a:t>1074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9FB2-40B8-B8B9-331B3010E347}"/>
                </c:ext>
              </c:extLst>
            </c:dLbl>
            <c:dLbl>
              <c:idx val="9"/>
              <c:tx>
                <c:rich>
                  <a:bodyPr/>
                  <a:lstStyle/>
                  <a:p>
                    <a:r>
                      <a:t>56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FB2-40B8-B8B9-331B3010E347}"/>
                </c:ext>
              </c:extLst>
            </c:dLbl>
            <c:dLbl>
              <c:idx val="10"/>
              <c:tx>
                <c:rich>
                  <a:bodyPr/>
                  <a:lstStyle/>
                  <a:p>
                    <a:r>
                      <a:t>696.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9FB2-40B8-B8B9-331B3010E347}"/>
                </c:ext>
              </c:extLst>
            </c:dLbl>
            <c:dLbl>
              <c:idx val="11"/>
              <c:tx>
                <c:rich>
                  <a:bodyPr/>
                  <a:lstStyle/>
                  <a:p>
                    <a:r>
                      <a:t>1057.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FB2-40B8-B8B9-331B3010E347}"/>
                </c:ext>
              </c:extLst>
            </c:dLbl>
            <c:dLbl>
              <c:idx val="12"/>
              <c:tx>
                <c:rich>
                  <a:bodyPr/>
                  <a:lstStyle/>
                  <a:p>
                    <a:r>
                      <a:t>131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9FB2-40B8-B8B9-331B3010E347}"/>
                </c:ext>
              </c:extLst>
            </c:dLbl>
            <c:dLbl>
              <c:idx val="13"/>
              <c:tx>
                <c:rich>
                  <a:bodyPr/>
                  <a:lstStyle/>
                  <a:p>
                    <a:r>
                      <a:t>596.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FB2-40B8-B8B9-331B3010E347}"/>
                </c:ext>
              </c:extLst>
            </c:dLbl>
            <c:dLbl>
              <c:idx val="14"/>
              <c:tx>
                <c:rich>
                  <a:bodyPr/>
                  <a:lstStyle/>
                  <a:p>
                    <a:r>
                      <a:t>1694.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9FB2-40B8-B8B9-331B3010E347}"/>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FB2-40B8-B8B9-331B3010E34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740.6312</c:v>
                </c:pt>
                <c:pt idx="1">
                  <c:v>1112.3699999999999</c:v>
                </c:pt>
                <c:pt idx="2">
                  <c:v>1363.8255999999999</c:v>
                </c:pt>
                <c:pt idx="3">
                  <c:v>1240.8344</c:v>
                </c:pt>
                <c:pt idx="4">
                  <c:v>1412.9780000000001</c:v>
                </c:pt>
                <c:pt idx="5">
                  <c:v>1332.4005999999999</c:v>
                </c:pt>
                <c:pt idx="6">
                  <c:v>1747.7023999999999</c:v>
                </c:pt>
                <c:pt idx="7">
                  <c:v>0</c:v>
                </c:pt>
                <c:pt idx="8">
                  <c:v>10745.716700000001</c:v>
                </c:pt>
                <c:pt idx="9">
                  <c:v>5633.8</c:v>
                </c:pt>
                <c:pt idx="10">
                  <c:v>696.43989999999997</c:v>
                </c:pt>
                <c:pt idx="11">
                  <c:v>1057.8791000000001</c:v>
                </c:pt>
                <c:pt idx="12">
                  <c:v>1315.2692</c:v>
                </c:pt>
                <c:pt idx="13">
                  <c:v>596.54600000000005</c:v>
                </c:pt>
                <c:pt idx="14">
                  <c:v>1694.594599999999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C4F5-4D3A-8E21-853D10527B7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C4F5-4D3A-8E21-853D10527B79}"/>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163</c:v>
                </c:pt>
                <c:pt idx="1">
                  <c:v>29</c:v>
                </c:pt>
                <c:pt idx="2">
                  <c:v>75.7</c:v>
                </c:pt>
                <c:pt idx="3">
                  <c:v>43</c:v>
                </c:pt>
                <c:pt idx="4">
                  <c:v>21.9</c:v>
                </c:pt>
                <c:pt idx="5">
                  <c:v>0</c:v>
                </c:pt>
                <c:pt idx="6">
                  <c:v>18.899999999999999</c:v>
                </c:pt>
                <c:pt idx="7">
                  <c:v>10.6</c:v>
                </c:pt>
                <c:pt idx="8">
                  <c:v>10.7</c:v>
                </c:pt>
                <c:pt idx="9">
                  <c:v>0.3</c:v>
                </c:pt>
                <c:pt idx="10">
                  <c:v>7.3</c:v>
                </c:pt>
                <c:pt idx="11">
                  <c:v>0.2</c:v>
                </c:pt>
                <c:pt idx="12">
                  <c:v>6.7</c:v>
                </c:pt>
                <c:pt idx="13">
                  <c:v>1</c:v>
                </c:pt>
                <c:pt idx="14">
                  <c:v>4.9000000000000004</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18.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5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3.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4F5-4D3A-8E21-853D10527B7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4F5-4D3A-8E21-853D10527B79}"/>
                </c:ext>
              </c:extLst>
            </c:dLbl>
            <c:dLbl>
              <c:idx val="6"/>
              <c:tx>
                <c:rich>
                  <a:bodyPr/>
                  <a:lstStyle/>
                  <a:p>
                    <a:r>
                      <a:t>13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4F5-4D3A-8E21-853D10527B79}"/>
                </c:ext>
              </c:extLst>
            </c:dLbl>
            <c:dLbl>
              <c:idx val="7"/>
              <c:tx>
                <c:rich>
                  <a:bodyPr/>
                  <a:lstStyle/>
                  <a:p>
                    <a:r>
                      <a:t>125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4F5-4D3A-8E21-853D10527B79}"/>
                </c:ext>
              </c:extLst>
            </c:dLbl>
            <c:dLbl>
              <c:idx val="8"/>
              <c:tx>
                <c:rich>
                  <a:bodyPr/>
                  <a:lstStyle/>
                  <a:p>
                    <a:r>
                      <a:t>10299.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C4F5-4D3A-8E21-853D10527B79}"/>
                </c:ext>
              </c:extLst>
            </c:dLbl>
            <c:dLbl>
              <c:idx val="9"/>
              <c:tx>
                <c:rich>
                  <a:bodyPr/>
                  <a:lstStyle/>
                  <a:p>
                    <a:r>
                      <a:t>54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C4F5-4D3A-8E21-853D10527B79}"/>
                </c:ext>
              </c:extLst>
            </c:dLbl>
            <c:dLbl>
              <c:idx val="10"/>
              <c:tx>
                <c:rich>
                  <a:bodyPr/>
                  <a:lstStyle/>
                  <a:p>
                    <a:r>
                      <a:t>130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C4F5-4D3A-8E21-853D10527B79}"/>
                </c:ext>
              </c:extLst>
            </c:dLbl>
            <c:dLbl>
              <c:idx val="11"/>
              <c:tx>
                <c:rich>
                  <a:bodyPr/>
                  <a:lstStyle/>
                  <a:p>
                    <a:r>
                      <a:t>584.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C4F5-4D3A-8E21-853D10527B79}"/>
                </c:ext>
              </c:extLst>
            </c:dLbl>
            <c:dLbl>
              <c:idx val="12"/>
              <c:tx>
                <c:rich>
                  <a:bodyPr/>
                  <a:lstStyle/>
                  <a:p>
                    <a:r>
                      <a:t>667.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C4F5-4D3A-8E21-853D10527B79}"/>
                </c:ext>
              </c:extLst>
            </c:dLbl>
            <c:dLbl>
              <c:idx val="13"/>
              <c:tx>
                <c:rich>
                  <a:bodyPr/>
                  <a:lstStyle/>
                  <a:p>
                    <a:r>
                      <a:t>108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C4F5-4D3A-8E21-853D10527B79}"/>
                </c:ext>
              </c:extLst>
            </c:dLbl>
            <c:dLbl>
              <c:idx val="14"/>
              <c:tx>
                <c:rich>
                  <a:bodyPr/>
                  <a:lstStyle/>
                  <a:p>
                    <a:r>
                      <a:t>1722.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C4F5-4D3A-8E21-853D10527B79}"/>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4F5-4D3A-8E21-853D10527B7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787.0997</c:v>
                </c:pt>
                <c:pt idx="1">
                  <c:v>1118.0627999999999</c:v>
                </c:pt>
                <c:pt idx="2">
                  <c:v>1382.5326</c:v>
                </c:pt>
                <c:pt idx="3">
                  <c:v>1258.5171</c:v>
                </c:pt>
                <c:pt idx="4">
                  <c:v>1743.6278</c:v>
                </c:pt>
                <c:pt idx="5">
                  <c:v>0</c:v>
                </c:pt>
                <c:pt idx="6">
                  <c:v>1380.7983999999999</c:v>
                </c:pt>
                <c:pt idx="7">
                  <c:v>1251.1089999999999</c:v>
                </c:pt>
                <c:pt idx="8">
                  <c:v>10299.2377</c:v>
                </c:pt>
                <c:pt idx="9">
                  <c:v>5413.5</c:v>
                </c:pt>
                <c:pt idx="10">
                  <c:v>1301.4169999999999</c:v>
                </c:pt>
                <c:pt idx="11">
                  <c:v>584.16840000000002</c:v>
                </c:pt>
                <c:pt idx="12">
                  <c:v>667.12909999999999</c:v>
                </c:pt>
                <c:pt idx="13">
                  <c:v>1081.1088999999999</c:v>
                </c:pt>
                <c:pt idx="14">
                  <c:v>1722.985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A2D-4ED0-8D33-DA85021BEBA4}"/>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FA2D-4ED0-8D33-DA85021BEBA4}"/>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D$2:$D$15</c:f>
              <c:numCache>
                <c:formatCode>General</c:formatCode>
                <c:ptCount val="14"/>
                <c:pt idx="0">
                  <c:v>144.4</c:v>
                </c:pt>
                <c:pt idx="1">
                  <c:v>18.2</c:v>
                </c:pt>
                <c:pt idx="2">
                  <c:v>48</c:v>
                </c:pt>
                <c:pt idx="3">
                  <c:v>27.4</c:v>
                </c:pt>
                <c:pt idx="4">
                  <c:v>22.4</c:v>
                </c:pt>
                <c:pt idx="5">
                  <c:v>0</c:v>
                </c:pt>
                <c:pt idx="6">
                  <c:v>20.399999999999999</c:v>
                </c:pt>
                <c:pt idx="7">
                  <c:v>0.1</c:v>
                </c:pt>
                <c:pt idx="8">
                  <c:v>14.1</c:v>
                </c:pt>
                <c:pt idx="9">
                  <c:v>8.1999999999999993</c:v>
                </c:pt>
                <c:pt idx="10">
                  <c:v>5.2</c:v>
                </c:pt>
                <c:pt idx="11">
                  <c:v>0.5</c:v>
                </c:pt>
                <c:pt idx="12">
                  <c:v>4.8</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1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8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0.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170.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A2D-4ED0-8D33-DA85021BEBA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A2D-4ED0-8D33-DA85021BEBA4}"/>
                </c:ext>
              </c:extLst>
            </c:dLbl>
            <c:dLbl>
              <c:idx val="6"/>
              <c:tx>
                <c:rich>
                  <a:bodyPr/>
                  <a:lstStyle/>
                  <a:p>
                    <a:r>
                      <a:t>1059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A2D-4ED0-8D33-DA85021BEBA4}"/>
                </c:ext>
              </c:extLst>
            </c:dLbl>
            <c:dLbl>
              <c:idx val="7"/>
              <c:tx>
                <c:rich>
                  <a:bodyPr/>
                  <a:lstStyle/>
                  <a:p>
                    <a:r>
                      <a:t>5846.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A2D-4ED0-8D33-DA85021BEBA4}"/>
                </c:ext>
              </c:extLst>
            </c:dLbl>
            <c:dLbl>
              <c:idx val="8"/>
              <c:tx>
                <c:rich>
                  <a:bodyPr/>
                  <a:lstStyle/>
                  <a:p>
                    <a:r>
                      <a:t>1425.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A2D-4ED0-8D33-DA85021BEBA4}"/>
                </c:ext>
              </c:extLst>
            </c:dLbl>
            <c:dLbl>
              <c:idx val="9"/>
              <c:tx>
                <c:rich>
                  <a:bodyPr/>
                  <a:lstStyle/>
                  <a:p>
                    <a:r>
                      <a:t>1207.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A2D-4ED0-8D33-DA85021BEBA4}"/>
                </c:ext>
              </c:extLst>
            </c:dLbl>
            <c:dLbl>
              <c:idx val="10"/>
              <c:tx>
                <c:rich>
                  <a:bodyPr/>
                  <a:lstStyle/>
                  <a:p>
                    <a:r>
                      <a:t>717.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A2D-4ED0-8D33-DA85021BEBA4}"/>
                </c:ext>
              </c:extLst>
            </c:dLbl>
            <c:dLbl>
              <c:idx val="11"/>
              <c:tx>
                <c:rich>
                  <a:bodyPr/>
                  <a:lstStyle/>
                  <a:p>
                    <a:r>
                      <a:t>104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A2D-4ED0-8D33-DA85021BEBA4}"/>
                </c:ext>
              </c:extLst>
            </c:dLbl>
            <c:dLbl>
              <c:idx val="12"/>
              <c:tx>
                <c:rich>
                  <a:bodyPr/>
                  <a:lstStyle/>
                  <a:p>
                    <a:r>
                      <a:t>140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A2D-4ED0-8D33-DA85021BEBA4}"/>
                </c:ext>
              </c:extLst>
            </c:dLbl>
            <c:dLbl>
              <c:idx val="13"/>
              <c:tx>
                <c:rich>
                  <a:bodyPr/>
                  <a:lstStyle/>
                  <a:p>
                    <a:r>
                      <a:t>76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A2D-4ED0-8D33-DA85021BEB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E$2:$E$15</c:f>
              <c:numCache>
                <c:formatCode>General</c:formatCode>
                <c:ptCount val="14"/>
                <c:pt idx="0">
                  <c:v>2212.3442</c:v>
                </c:pt>
                <c:pt idx="1">
                  <c:v>1086.1978999999999</c:v>
                </c:pt>
                <c:pt idx="2">
                  <c:v>1375.4544000000001</c:v>
                </c:pt>
                <c:pt idx="3">
                  <c:v>1220.2827</c:v>
                </c:pt>
                <c:pt idx="4">
                  <c:v>2170.7797999999998</c:v>
                </c:pt>
                <c:pt idx="5">
                  <c:v>0</c:v>
                </c:pt>
                <c:pt idx="6">
                  <c:v>10595.319600000001</c:v>
                </c:pt>
                <c:pt idx="7">
                  <c:v>5846.7142999999996</c:v>
                </c:pt>
                <c:pt idx="8">
                  <c:v>1425.3298</c:v>
                </c:pt>
                <c:pt idx="9">
                  <c:v>1207.0334</c:v>
                </c:pt>
                <c:pt idx="10">
                  <c:v>717.40989999999999</c:v>
                </c:pt>
                <c:pt idx="11">
                  <c:v>1045.8996</c:v>
                </c:pt>
                <c:pt idx="12">
                  <c:v>1401.0145</c:v>
                </c:pt>
                <c:pt idx="13">
                  <c:v>763.2092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BF22-4E47-B57D-A6DEC951B22B}"/>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BF22-4E47-B57D-A6DEC951B22B}"/>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D$2:$D$17</c:f>
              <c:numCache>
                <c:formatCode>General</c:formatCode>
                <c:ptCount val="16"/>
                <c:pt idx="0">
                  <c:v>5.4</c:v>
                </c:pt>
                <c:pt idx="1">
                  <c:v>4.2</c:v>
                </c:pt>
                <c:pt idx="2">
                  <c:v>103.1</c:v>
                </c:pt>
                <c:pt idx="3">
                  <c:v>21.5</c:v>
                </c:pt>
                <c:pt idx="4">
                  <c:v>61.9</c:v>
                </c:pt>
                <c:pt idx="5">
                  <c:v>28.7</c:v>
                </c:pt>
                <c:pt idx="6">
                  <c:v>29.5</c:v>
                </c:pt>
                <c:pt idx="7">
                  <c:v>17.8</c:v>
                </c:pt>
                <c:pt idx="8">
                  <c:v>15.9</c:v>
                </c:pt>
                <c:pt idx="9">
                  <c:v>0</c:v>
                </c:pt>
                <c:pt idx="10">
                  <c:v>7.2</c:v>
                </c:pt>
                <c:pt idx="11">
                  <c:v>1.1000000000000001</c:v>
                </c:pt>
                <c:pt idx="12">
                  <c:v>6.2</c:v>
                </c:pt>
                <c:pt idx="13">
                  <c:v>0</c:v>
                </c:pt>
                <c:pt idx="14">
                  <c:v>5.3</c:v>
                </c:pt>
                <c:pt idx="15">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54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4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0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0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F22-4E47-B57D-A6DEC951B22B}"/>
                </c:ext>
              </c:extLst>
            </c:dLbl>
            <c:dLbl>
              <c:idx val="5"/>
              <c:tx>
                <c:rich>
                  <a:bodyPr/>
                  <a:lstStyle/>
                  <a:p>
                    <a:r>
                      <a:t>119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F22-4E47-B57D-A6DEC951B22B}"/>
                </c:ext>
              </c:extLst>
            </c:dLbl>
            <c:dLbl>
              <c:idx val="6"/>
              <c:tx>
                <c:rich>
                  <a:bodyPr/>
                  <a:lstStyle/>
                  <a:p>
                    <a:r>
                      <a:t>136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F22-4E47-B57D-A6DEC951B22B}"/>
                </c:ext>
              </c:extLst>
            </c:dLbl>
            <c:dLbl>
              <c:idx val="7"/>
              <c:tx>
                <c:rich>
                  <a:bodyPr/>
                  <a:lstStyle/>
                  <a:p>
                    <a:r>
                      <a:t>131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F22-4E47-B57D-A6DEC951B22B}"/>
                </c:ext>
              </c:extLst>
            </c:dLbl>
            <c:dLbl>
              <c:idx val="8"/>
              <c:tx>
                <c:rich>
                  <a:bodyPr/>
                  <a:lstStyle/>
                  <a:p>
                    <a:r>
                      <a:t>1360.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F22-4E47-B57D-A6DEC951B22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F22-4E47-B57D-A6DEC951B22B}"/>
                </c:ext>
              </c:extLst>
            </c:dLbl>
            <c:dLbl>
              <c:idx val="10"/>
              <c:tx>
                <c:rich>
                  <a:bodyPr/>
                  <a:lstStyle/>
                  <a:p>
                    <a:r>
                      <a:t>70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F22-4E47-B57D-A6DEC951B22B}"/>
                </c:ext>
              </c:extLst>
            </c:dLbl>
            <c:dLbl>
              <c:idx val="11"/>
              <c:tx>
                <c:rich>
                  <a:bodyPr/>
                  <a:lstStyle/>
                  <a:p>
                    <a:r>
                      <a:t>90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F22-4E47-B57D-A6DEC951B22B}"/>
                </c:ext>
              </c:extLst>
            </c:dLbl>
            <c:dLbl>
              <c:idx val="12"/>
              <c:tx>
                <c:rich>
                  <a:bodyPr/>
                  <a:lstStyle/>
                  <a:p>
                    <a:r>
                      <a:t>156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F22-4E47-B57D-A6DEC951B22B}"/>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F22-4E47-B57D-A6DEC951B22B}"/>
                </c:ext>
              </c:extLst>
            </c:dLbl>
            <c:dLbl>
              <c:idx val="14"/>
              <c:tx>
                <c:rich>
                  <a:bodyPr/>
                  <a:lstStyle/>
                  <a:p>
                    <a:r>
                      <a:t>121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F22-4E47-B57D-A6DEC951B22B}"/>
                </c:ext>
              </c:extLst>
            </c:dLbl>
            <c:dLbl>
              <c:idx val="15"/>
              <c:tx>
                <c:rich>
                  <a:bodyPr/>
                  <a:lstStyle/>
                  <a:p>
                    <a:r>
                      <a:t>547.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F22-4E47-B57D-A6DEC951B22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E$2:$E$17</c:f>
              <c:numCache>
                <c:formatCode>General</c:formatCode>
                <c:ptCount val="16"/>
                <c:pt idx="0">
                  <c:v>571.51649999999995</c:v>
                </c:pt>
                <c:pt idx="1">
                  <c:v>546.50670000000002</c:v>
                </c:pt>
                <c:pt idx="2">
                  <c:v>1439.95</c:v>
                </c:pt>
                <c:pt idx="3">
                  <c:v>1102.4680000000001</c:v>
                </c:pt>
                <c:pt idx="4">
                  <c:v>1309.0880999999999</c:v>
                </c:pt>
                <c:pt idx="5">
                  <c:v>1193.8720000000001</c:v>
                </c:pt>
                <c:pt idx="6">
                  <c:v>1364.7523000000001</c:v>
                </c:pt>
                <c:pt idx="7">
                  <c:v>1313.8954000000001</c:v>
                </c:pt>
                <c:pt idx="8">
                  <c:v>1360.6511</c:v>
                </c:pt>
                <c:pt idx="9">
                  <c:v>0</c:v>
                </c:pt>
                <c:pt idx="10">
                  <c:v>706.37810000000002</c:v>
                </c:pt>
                <c:pt idx="11">
                  <c:v>907.79849999999999</c:v>
                </c:pt>
                <c:pt idx="12">
                  <c:v>1565.1661999999999</c:v>
                </c:pt>
                <c:pt idx="13">
                  <c:v>0</c:v>
                </c:pt>
                <c:pt idx="14">
                  <c:v>1215.4095</c:v>
                </c:pt>
                <c:pt idx="15">
                  <c:v>547.9179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6121-43D9-98C9-C8B6E10F83C7}"/>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6121-43D9-98C9-C8B6E10F83C7}"/>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18.4</c:v>
                </c:pt>
                <c:pt idx="1">
                  <c:v>22.8</c:v>
                </c:pt>
                <c:pt idx="2">
                  <c:v>55.1</c:v>
                </c:pt>
                <c:pt idx="3">
                  <c:v>28</c:v>
                </c:pt>
                <c:pt idx="4">
                  <c:v>17.899999999999999</c:v>
                </c:pt>
                <c:pt idx="5">
                  <c:v>0</c:v>
                </c:pt>
                <c:pt idx="6">
                  <c:v>15.6</c:v>
                </c:pt>
                <c:pt idx="7">
                  <c:v>8.8000000000000007</c:v>
                </c:pt>
                <c:pt idx="8">
                  <c:v>8.6</c:v>
                </c:pt>
                <c:pt idx="9">
                  <c:v>0.1</c:v>
                </c:pt>
                <c:pt idx="10">
                  <c:v>6.1</c:v>
                </c:pt>
                <c:pt idx="11">
                  <c:v>0.9</c:v>
                </c:pt>
                <c:pt idx="12">
                  <c:v>6</c:v>
                </c:pt>
                <c:pt idx="13">
                  <c:v>0.1</c:v>
                </c:pt>
                <c:pt idx="14">
                  <c:v>4.5999999999999996</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08.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34.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2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121-43D9-98C9-C8B6E10F83C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6121-43D9-98C9-C8B6E10F83C7}"/>
                </c:ext>
              </c:extLst>
            </c:dLbl>
            <c:dLbl>
              <c:idx val="6"/>
              <c:tx>
                <c:rich>
                  <a:bodyPr/>
                  <a:lstStyle/>
                  <a:p>
                    <a:r>
                      <a:t>1388.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6121-43D9-98C9-C8B6E10F83C7}"/>
                </c:ext>
              </c:extLst>
            </c:dLbl>
            <c:dLbl>
              <c:idx val="7"/>
              <c:tx>
                <c:rich>
                  <a:bodyPr/>
                  <a:lstStyle/>
                  <a:p>
                    <a:r>
                      <a:t>127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6121-43D9-98C9-C8B6E10F83C7}"/>
                </c:ext>
              </c:extLst>
            </c:dLbl>
            <c:dLbl>
              <c:idx val="8"/>
              <c:tx>
                <c:rich>
                  <a:bodyPr/>
                  <a:lstStyle/>
                  <a:p>
                    <a:r>
                      <a:t>1159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6121-43D9-98C9-C8B6E10F83C7}"/>
                </c:ext>
              </c:extLst>
            </c:dLbl>
            <c:dLbl>
              <c:idx val="9"/>
              <c:tx>
                <c:rich>
                  <a:bodyPr/>
                  <a:lstStyle/>
                  <a:p>
                    <a:r>
                      <a:t>50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6121-43D9-98C9-C8B6E10F83C7}"/>
                </c:ext>
              </c:extLst>
            </c:dLbl>
            <c:dLbl>
              <c:idx val="10"/>
              <c:tx>
                <c:rich>
                  <a:bodyPr/>
                  <a:lstStyle/>
                  <a:p>
                    <a:r>
                      <a:t>68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6121-43D9-98C9-C8B6E10F83C7}"/>
                </c:ext>
              </c:extLst>
            </c:dLbl>
            <c:dLbl>
              <c:idx val="11"/>
              <c:tx>
                <c:rich>
                  <a:bodyPr/>
                  <a:lstStyle/>
                  <a:p>
                    <a:r>
                      <a:t>107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6121-43D9-98C9-C8B6E10F83C7}"/>
                </c:ext>
              </c:extLst>
            </c:dLbl>
            <c:dLbl>
              <c:idx val="12"/>
              <c:tx>
                <c:rich>
                  <a:bodyPr/>
                  <a:lstStyle/>
                  <a:p>
                    <a:r>
                      <a:t>1303.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6121-43D9-98C9-C8B6E10F83C7}"/>
                </c:ext>
              </c:extLst>
            </c:dLbl>
            <c:dLbl>
              <c:idx val="13"/>
              <c:tx>
                <c:rich>
                  <a:bodyPr/>
                  <a:lstStyle/>
                  <a:p>
                    <a:r>
                      <a:t>60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6121-43D9-98C9-C8B6E10F83C7}"/>
                </c:ext>
              </c:extLst>
            </c:dLbl>
            <c:dLbl>
              <c:idx val="14"/>
              <c:tx>
                <c:rich>
                  <a:bodyPr/>
                  <a:lstStyle/>
                  <a:p>
                    <a:r>
                      <a:t>169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6121-43D9-98C9-C8B6E10F83C7}"/>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6121-43D9-98C9-C8B6E10F83C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59.42</c:v>
                </c:pt>
                <c:pt idx="1">
                  <c:v>1108.3902</c:v>
                </c:pt>
                <c:pt idx="2">
                  <c:v>1363.1175000000001</c:v>
                </c:pt>
                <c:pt idx="3">
                  <c:v>1234.8164999999999</c:v>
                </c:pt>
                <c:pt idx="4">
                  <c:v>1729.4639</c:v>
                </c:pt>
                <c:pt idx="5">
                  <c:v>0</c:v>
                </c:pt>
                <c:pt idx="6">
                  <c:v>1388.0657000000001</c:v>
                </c:pt>
                <c:pt idx="7">
                  <c:v>1279.2280000000001</c:v>
                </c:pt>
                <c:pt idx="8">
                  <c:v>11592.531199999999</c:v>
                </c:pt>
                <c:pt idx="9">
                  <c:v>5096.5</c:v>
                </c:pt>
                <c:pt idx="10">
                  <c:v>682.4479</c:v>
                </c:pt>
                <c:pt idx="11">
                  <c:v>1070.5155999999999</c:v>
                </c:pt>
                <c:pt idx="12">
                  <c:v>1303.1286</c:v>
                </c:pt>
                <c:pt idx="13">
                  <c:v>602.37</c:v>
                </c:pt>
                <c:pt idx="14">
                  <c:v>1696.9402</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A8D-4395-B770-704090BC03EB}"/>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FA8D-4395-B770-704090BC03EB}"/>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09.4</c:v>
                </c:pt>
                <c:pt idx="1">
                  <c:v>25.1</c:v>
                </c:pt>
                <c:pt idx="2">
                  <c:v>50.9</c:v>
                </c:pt>
                <c:pt idx="3">
                  <c:v>29.3</c:v>
                </c:pt>
                <c:pt idx="4">
                  <c:v>22.7</c:v>
                </c:pt>
                <c:pt idx="5">
                  <c:v>15.5</c:v>
                </c:pt>
                <c:pt idx="6">
                  <c:v>13.9</c:v>
                </c:pt>
                <c:pt idx="7">
                  <c:v>0</c:v>
                </c:pt>
                <c:pt idx="8">
                  <c:v>7.9</c:v>
                </c:pt>
                <c:pt idx="9">
                  <c:v>0.1</c:v>
                </c:pt>
                <c:pt idx="10">
                  <c:v>5.9</c:v>
                </c:pt>
                <c:pt idx="11">
                  <c:v>0.9</c:v>
                </c:pt>
                <c:pt idx="12">
                  <c:v>4.7</c:v>
                </c:pt>
                <c:pt idx="13">
                  <c:v>0.1</c:v>
                </c:pt>
                <c:pt idx="14">
                  <c:v>3.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2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64.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7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A8D-4395-B770-704090BC03EB}"/>
                </c:ext>
              </c:extLst>
            </c:dLbl>
            <c:dLbl>
              <c:idx val="5"/>
              <c:tx>
                <c:rich>
                  <a:bodyPr/>
                  <a:lstStyle/>
                  <a:p>
                    <a:r>
                      <a:t>1437.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A8D-4395-B770-704090BC03EB}"/>
                </c:ext>
              </c:extLst>
            </c:dLbl>
            <c:dLbl>
              <c:idx val="6"/>
              <c:tx>
                <c:rich>
                  <a:bodyPr/>
                  <a:lstStyle/>
                  <a:p>
                    <a:r>
                      <a:t>187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A8D-4395-B770-704090BC03E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A8D-4395-B770-704090BC03EB}"/>
                </c:ext>
              </c:extLst>
            </c:dLbl>
            <c:dLbl>
              <c:idx val="8"/>
              <c:tx>
                <c:rich>
                  <a:bodyPr/>
                  <a:lstStyle/>
                  <a:p>
                    <a:r>
                      <a:t>1164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A8D-4395-B770-704090BC03EB}"/>
                </c:ext>
              </c:extLst>
            </c:dLbl>
            <c:dLbl>
              <c:idx val="9"/>
              <c:tx>
                <c:rich>
                  <a:bodyPr/>
                  <a:lstStyle/>
                  <a:p>
                    <a:r>
                      <a:t>6429.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A8D-4395-B770-704090BC03EB}"/>
                </c:ext>
              </c:extLst>
            </c:dLbl>
            <c:dLbl>
              <c:idx val="10"/>
              <c:tx>
                <c:rich>
                  <a:bodyPr/>
                  <a:lstStyle/>
                  <a:p>
                    <a:r>
                      <a:t>69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A8D-4395-B770-704090BC03EB}"/>
                </c:ext>
              </c:extLst>
            </c:dLbl>
            <c:dLbl>
              <c:idx val="11"/>
              <c:tx>
                <c:rich>
                  <a:bodyPr/>
                  <a:lstStyle/>
                  <a:p>
                    <a:r>
                      <a:t>1226.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A8D-4395-B770-704090BC03EB}"/>
                </c:ext>
              </c:extLst>
            </c:dLbl>
            <c:dLbl>
              <c:idx val="12"/>
              <c:tx>
                <c:rich>
                  <a:bodyPr/>
                  <a:lstStyle/>
                  <a:p>
                    <a:r>
                      <a:t>1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A8D-4395-B770-704090BC03EB}"/>
                </c:ext>
              </c:extLst>
            </c:dLbl>
            <c:dLbl>
              <c:idx val="13"/>
              <c:tx>
                <c:rich>
                  <a:bodyPr/>
                  <a:lstStyle/>
                  <a:p>
                    <a:r>
                      <a:t>665.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A8D-4395-B770-704090BC03EB}"/>
                </c:ext>
              </c:extLst>
            </c:dLbl>
            <c:dLbl>
              <c:idx val="14"/>
              <c:tx>
                <c:rich>
                  <a:bodyPr/>
                  <a:lstStyle/>
                  <a:p>
                    <a:r>
                      <a:t>17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A8D-4395-B770-704090BC03EB}"/>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A8D-4395-B770-704090BC03E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65.6965</c:v>
                </c:pt>
                <c:pt idx="1">
                  <c:v>1127.3041000000001</c:v>
                </c:pt>
                <c:pt idx="2">
                  <c:v>1379.461</c:v>
                </c:pt>
                <c:pt idx="3">
                  <c:v>1264.6216999999999</c:v>
                </c:pt>
                <c:pt idx="4">
                  <c:v>1479.3656000000001</c:v>
                </c:pt>
                <c:pt idx="5">
                  <c:v>1437.9057</c:v>
                </c:pt>
                <c:pt idx="6">
                  <c:v>1874.4972</c:v>
                </c:pt>
                <c:pt idx="7">
                  <c:v>0</c:v>
                </c:pt>
                <c:pt idx="8">
                  <c:v>11640.683000000001</c:v>
                </c:pt>
                <c:pt idx="9">
                  <c:v>6429.0713999999998</c:v>
                </c:pt>
                <c:pt idx="10">
                  <c:v>699.10299999999995</c:v>
                </c:pt>
                <c:pt idx="11">
                  <c:v>1226.7301</c:v>
                </c:pt>
                <c:pt idx="12">
                  <c:v>1369.9003</c:v>
                </c:pt>
                <c:pt idx="13">
                  <c:v>665.11829999999998</c:v>
                </c:pt>
                <c:pt idx="14">
                  <c:v>1774.965799999999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2FEB-46EA-BD37-2CA9263D51A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2FEB-46EA-BD37-2CA9263D51A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74.599999999999994</c:v>
                </c:pt>
                <c:pt idx="1">
                  <c:v>16.600000000000001</c:v>
                </c:pt>
                <c:pt idx="2">
                  <c:v>40.1</c:v>
                </c:pt>
                <c:pt idx="3">
                  <c:v>18.7</c:v>
                </c:pt>
                <c:pt idx="4">
                  <c:v>23.6</c:v>
                </c:pt>
                <c:pt idx="5">
                  <c:v>16.600000000000001</c:v>
                </c:pt>
                <c:pt idx="6">
                  <c:v>10.1</c:v>
                </c:pt>
                <c:pt idx="7">
                  <c:v>0</c:v>
                </c:pt>
                <c:pt idx="8">
                  <c:v>3.8</c:v>
                </c:pt>
                <c:pt idx="9">
                  <c:v>0.1</c:v>
                </c:pt>
                <c:pt idx="10">
                  <c:v>4.2</c:v>
                </c:pt>
                <c:pt idx="11">
                  <c:v>0.1</c:v>
                </c:pt>
                <c:pt idx="12">
                  <c:v>3.4</c:v>
                </c:pt>
                <c:pt idx="13">
                  <c:v>0.7</c:v>
                </c:pt>
                <c:pt idx="14">
                  <c:v>3.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2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8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5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FEB-46EA-BD37-2CA9263D51AC}"/>
                </c:ext>
              </c:extLst>
            </c:dLbl>
            <c:dLbl>
              <c:idx val="5"/>
              <c:tx>
                <c:rich>
                  <a:bodyPr/>
                  <a:lstStyle/>
                  <a:p>
                    <a:r>
                      <a:t>1419.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FEB-46EA-BD37-2CA9263D51AC}"/>
                </c:ext>
              </c:extLst>
            </c:dLbl>
            <c:dLbl>
              <c:idx val="6"/>
              <c:tx>
                <c:rich>
                  <a:bodyPr/>
                  <a:lstStyle/>
                  <a:p>
                    <a:r>
                      <a:t>16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FEB-46EA-BD37-2CA9263D51A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FEB-46EA-BD37-2CA9263D51AC}"/>
                </c:ext>
              </c:extLst>
            </c:dLbl>
            <c:dLbl>
              <c:idx val="8"/>
              <c:tx>
                <c:rich>
                  <a:bodyPr/>
                  <a:lstStyle/>
                  <a:p>
                    <a:r>
                      <a:t>1132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FEB-46EA-BD37-2CA9263D51AC}"/>
                </c:ext>
              </c:extLst>
            </c:dLbl>
            <c:dLbl>
              <c:idx val="9"/>
              <c:tx>
                <c:rich>
                  <a:bodyPr/>
                  <a:lstStyle/>
                  <a:p>
                    <a:r>
                      <a:t>6206.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FEB-46EA-BD37-2CA9263D51AC}"/>
                </c:ext>
              </c:extLst>
            </c:dLbl>
            <c:dLbl>
              <c:idx val="10"/>
              <c:tx>
                <c:rich>
                  <a:bodyPr/>
                  <a:lstStyle/>
                  <a:p>
                    <a:r>
                      <a:t>13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FEB-46EA-BD37-2CA9263D51AC}"/>
                </c:ext>
              </c:extLst>
            </c:dLbl>
            <c:dLbl>
              <c:idx val="11"/>
              <c:tx>
                <c:rich>
                  <a:bodyPr/>
                  <a:lstStyle/>
                  <a:p>
                    <a:r>
                      <a:t>545.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FEB-46EA-BD37-2CA9263D51AC}"/>
                </c:ext>
              </c:extLst>
            </c:dLbl>
            <c:dLbl>
              <c:idx val="12"/>
              <c:tx>
                <c:rich>
                  <a:bodyPr/>
                  <a:lstStyle/>
                  <a:p>
                    <a:r>
                      <a:t>727.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FEB-46EA-BD37-2CA9263D51AC}"/>
                </c:ext>
              </c:extLst>
            </c:dLbl>
            <c:dLbl>
              <c:idx val="13"/>
              <c:tx>
                <c:rich>
                  <a:bodyPr/>
                  <a:lstStyle/>
                  <a:p>
                    <a:r>
                      <a:t>1102.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FEB-46EA-BD37-2CA9263D51AC}"/>
                </c:ext>
              </c:extLst>
            </c:dLbl>
            <c:dLbl>
              <c:idx val="14"/>
              <c:tx>
                <c:rich>
                  <a:bodyPr/>
                  <a:lstStyle/>
                  <a:p>
                    <a:r>
                      <a:t>18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FEB-46EA-BD37-2CA9263D51AC}"/>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FEB-46EA-BD37-2CA9263D51A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678.1269</c:v>
                </c:pt>
                <c:pt idx="1">
                  <c:v>1128.1296</c:v>
                </c:pt>
                <c:pt idx="2">
                  <c:v>1384.8006</c:v>
                </c:pt>
                <c:pt idx="3">
                  <c:v>1280.0268000000001</c:v>
                </c:pt>
                <c:pt idx="4">
                  <c:v>1451.2198000000001</c:v>
                </c:pt>
                <c:pt idx="5">
                  <c:v>1419.9635000000001</c:v>
                </c:pt>
                <c:pt idx="6">
                  <c:v>1658.9194</c:v>
                </c:pt>
                <c:pt idx="7">
                  <c:v>0</c:v>
                </c:pt>
                <c:pt idx="8">
                  <c:v>11328.655699999999</c:v>
                </c:pt>
                <c:pt idx="9">
                  <c:v>6206.0909000000001</c:v>
                </c:pt>
                <c:pt idx="10">
                  <c:v>1343.6047000000001</c:v>
                </c:pt>
                <c:pt idx="11">
                  <c:v>545.49459999999999</c:v>
                </c:pt>
                <c:pt idx="12">
                  <c:v>727.5068</c:v>
                </c:pt>
                <c:pt idx="13">
                  <c:v>1102.7679000000001</c:v>
                </c:pt>
                <c:pt idx="14">
                  <c:v>1811.101100000000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771607-82FF-4B70-9B0C-13F0119E6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034C95-E090-4862-870C-01B05C9FE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121510-BC0C-458A-BACC-D4C6051AF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FBD1EA-903F-4FF3-8C22-E1D9E7794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08F281-E9DF-4681-8F48-9954D05E3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F7180E-C78D-4016-BA5A-C67B714BA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8DDD39-12CF-43D5-BD21-3F02F173E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7E90FA-8F69-4A75-8036-E893A14BC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6053</c:v>
                </c:pt>
                <c:pt idx="1">
                  <c:v>218.04519999999999</c:v>
                </c:pt>
                <c:pt idx="2">
                  <c:v>224.18709999999999</c:v>
                </c:pt>
                <c:pt idx="3">
                  <c:v>280.37139999999999</c:v>
                </c:pt>
                <c:pt idx="4">
                  <c:v>86.580500000000001</c:v>
                </c:pt>
                <c:pt idx="5">
                  <c:v>605.09690000000001</c:v>
                </c:pt>
                <c:pt idx="6">
                  <c:v>291.0607</c:v>
                </c:pt>
                <c:pt idx="7">
                  <c:v>156.0933</c:v>
                </c:pt>
              </c:numCache>
            </c:numRef>
          </c:xVal>
          <c:yVal>
            <c:numRef>
              <c:f>Sheet1!$B$2:$B$9</c:f>
              <c:numCache>
                <c:formatCode>General</c:formatCode>
                <c:ptCount val="8"/>
                <c:pt idx="0">
                  <c:v>1.147</c:v>
                </c:pt>
                <c:pt idx="1">
                  <c:v>0.84499999999999997</c:v>
                </c:pt>
                <c:pt idx="2">
                  <c:v>0.84899999999999998</c:v>
                </c:pt>
                <c:pt idx="3">
                  <c:v>2.1760000000000002</c:v>
                </c:pt>
                <c:pt idx="4">
                  <c:v>0.47899999999999998</c:v>
                </c:pt>
                <c:pt idx="5">
                  <c:v>5.1710000000000003</c:v>
                </c:pt>
                <c:pt idx="6">
                  <c:v>1.1240000000000001</c:v>
                </c:pt>
                <c:pt idx="7">
                  <c:v>2.34</c:v>
                </c:pt>
              </c:numCache>
            </c:numRef>
          </c:yVal>
          <c:bubbleSize>
            <c:numRef>
              <c:f>Sheet1!$C$2:$C$9</c:f>
              <c:numCache>
                <c:formatCode>General</c:formatCode>
                <c:ptCount val="8"/>
                <c:pt idx="0">
                  <c:v>110924561</c:v>
                </c:pt>
                <c:pt idx="1">
                  <c:v>51770699</c:v>
                </c:pt>
                <c:pt idx="2">
                  <c:v>35419541</c:v>
                </c:pt>
                <c:pt idx="3">
                  <c:v>13224280</c:v>
                </c:pt>
                <c:pt idx="4">
                  <c:v>10297880</c:v>
                </c:pt>
                <c:pt idx="5">
                  <c:v>3786091</c:v>
                </c:pt>
                <c:pt idx="6">
                  <c:v>3723830</c:v>
                </c:pt>
                <c:pt idx="7">
                  <c:v>223447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Caribbean Beach</c:v>
                  </c:pt>
                  <c:pt idx="5">
                    <c:v>Isdin</c:v>
                  </c:pt>
                  <c:pt idx="6">
                    <c:v>Australian Gold</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6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A663EC5-192F-48DD-86DF-0A505CF30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5FF487E-3BF4-4366-AA3C-030C43328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CF65AE4-CBE6-4121-A1AA-CC326679F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64E86DD-5E60-4765-A03A-F737F0AEB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9DA4E54-1C7F-4BC0-B82D-FA1DD0ED3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5013C6E-536D-4CCD-B1A9-9ED2B78EB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635F88C-C6C0-4B3A-871B-6F298CF95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FF70F6C-50A0-4498-9A0F-CC99BE0B4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0.5</c:v>
                </c:pt>
                <c:pt idx="1">
                  <c:v>270.68920000000003</c:v>
                </c:pt>
                <c:pt idx="2">
                  <c:v>504.26330000000002</c:v>
                </c:pt>
                <c:pt idx="3">
                  <c:v>542.40380000000005</c:v>
                </c:pt>
                <c:pt idx="4">
                  <c:v>169.7456</c:v>
                </c:pt>
                <c:pt idx="5">
                  <c:v>852.34209999999996</c:v>
                </c:pt>
              </c:numCache>
            </c:numRef>
          </c:xVal>
          <c:yVal>
            <c:numRef>
              <c:f>Sheet1!$B$2:$B$7</c:f>
              <c:numCache>
                <c:formatCode>General</c:formatCode>
                <c:ptCount val="6"/>
                <c:pt idx="0">
                  <c:v>4.59</c:v>
                </c:pt>
                <c:pt idx="1">
                  <c:v>0.71599999999999997</c:v>
                </c:pt>
                <c:pt idx="2">
                  <c:v>2.9</c:v>
                </c:pt>
                <c:pt idx="3">
                  <c:v>10.904999999999999</c:v>
                </c:pt>
                <c:pt idx="4">
                  <c:v>0.36499999999999999</c:v>
                </c:pt>
                <c:pt idx="5">
                  <c:v>0</c:v>
                </c:pt>
              </c:numCache>
            </c:numRef>
          </c:yVal>
          <c:bubbleSize>
            <c:numRef>
              <c:f>Sheet1!$C$2:$C$7</c:f>
              <c:numCache>
                <c:formatCode>General</c:formatCode>
                <c:ptCount val="6"/>
                <c:pt idx="0">
                  <c:v>484737</c:v>
                </c:pt>
                <c:pt idx="1">
                  <c:v>296134</c:v>
                </c:pt>
                <c:pt idx="2">
                  <c:v>237508</c:v>
                </c:pt>
                <c:pt idx="3">
                  <c:v>141025</c:v>
                </c:pt>
                <c:pt idx="4">
                  <c:v>48038</c:v>
                </c:pt>
                <c:pt idx="5">
                  <c:v>32389</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23"/>
          <c:min val="13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2AE5-41A9-A838-CD8281C2D762}"/>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2AE5-41A9-A838-CD8281C2D762}"/>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712.9</c:v>
                </c:pt>
                <c:pt idx="1">
                  <c:v>72.400000000000006</c:v>
                </c:pt>
                <c:pt idx="2">
                  <c:v>331.7</c:v>
                </c:pt>
                <c:pt idx="3">
                  <c:v>133.80000000000001</c:v>
                </c:pt>
                <c:pt idx="4">
                  <c:v>124.4</c:v>
                </c:pt>
                <c:pt idx="5">
                  <c:v>39.5</c:v>
                </c:pt>
                <c:pt idx="6">
                  <c:v>102.2</c:v>
                </c:pt>
                <c:pt idx="7">
                  <c:v>0</c:v>
                </c:pt>
                <c:pt idx="8">
                  <c:v>54.3</c:v>
                </c:pt>
                <c:pt idx="9">
                  <c:v>0</c:v>
                </c:pt>
                <c:pt idx="10">
                  <c:v>34.5</c:v>
                </c:pt>
                <c:pt idx="11">
                  <c:v>0</c:v>
                </c:pt>
                <c:pt idx="12">
                  <c:v>32.299999999999997</c:v>
                </c:pt>
                <c:pt idx="13">
                  <c:v>0.5</c:v>
                </c:pt>
                <c:pt idx="14">
                  <c:v>26.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40.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6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9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1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AE5-41A9-A838-CD8281C2D762}"/>
                </c:ext>
              </c:extLst>
            </c:dLbl>
            <c:dLbl>
              <c:idx val="5"/>
              <c:tx>
                <c:rich>
                  <a:bodyPr/>
                  <a:lstStyle/>
                  <a:p>
                    <a:r>
                      <a:t>1405.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AE5-41A9-A838-CD8281C2D762}"/>
                </c:ext>
              </c:extLst>
            </c:dLbl>
            <c:dLbl>
              <c:idx val="6"/>
              <c:tx>
                <c:rich>
                  <a:bodyPr/>
                  <a:lstStyle/>
                  <a:p>
                    <a:r>
                      <a:t>17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AE5-41A9-A838-CD8281C2D76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AE5-41A9-A838-CD8281C2D762}"/>
                </c:ext>
              </c:extLst>
            </c:dLbl>
            <c:dLbl>
              <c:idx val="8"/>
              <c:tx>
                <c:rich>
                  <a:bodyPr/>
                  <a:lstStyle/>
                  <a:p>
                    <a:r>
                      <a:t>1074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AE5-41A9-A838-CD8281C2D76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AE5-41A9-A838-CD8281C2D762}"/>
                </c:ext>
              </c:extLst>
            </c:dLbl>
            <c:dLbl>
              <c:idx val="10"/>
              <c:tx>
                <c:rich>
                  <a:bodyPr/>
                  <a:lstStyle/>
                  <a:p>
                    <a:r>
                      <a:t>696.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AE5-41A9-A838-CD8281C2D762}"/>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AE5-41A9-A838-CD8281C2D762}"/>
                </c:ext>
              </c:extLst>
            </c:dLbl>
            <c:dLbl>
              <c:idx val="12"/>
              <c:tx>
                <c:rich>
                  <a:bodyPr/>
                  <a:lstStyle/>
                  <a:p>
                    <a:r>
                      <a:t>131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AE5-41A9-A838-CD8281C2D762}"/>
                </c:ext>
              </c:extLst>
            </c:dLbl>
            <c:dLbl>
              <c:idx val="13"/>
              <c:tx>
                <c:rich>
                  <a:bodyPr/>
                  <a:lstStyle/>
                  <a:p>
                    <a:r>
                      <a:t>589.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AE5-41A9-A838-CD8281C2D762}"/>
                </c:ext>
              </c:extLst>
            </c:dLbl>
            <c:dLbl>
              <c:idx val="14"/>
              <c:tx>
                <c:rich>
                  <a:bodyPr/>
                  <a:lstStyle/>
                  <a:p>
                    <a:r>
                      <a:t>1694.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AE5-41A9-A838-CD8281C2D762}"/>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AE5-41A9-A838-CD8281C2D76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740.6312</c:v>
                </c:pt>
                <c:pt idx="1">
                  <c:v>1161.8338000000001</c:v>
                </c:pt>
                <c:pt idx="2">
                  <c:v>1363.8255999999999</c:v>
                </c:pt>
                <c:pt idx="3">
                  <c:v>1195.0743</c:v>
                </c:pt>
                <c:pt idx="4">
                  <c:v>1412.9780000000001</c:v>
                </c:pt>
                <c:pt idx="5">
                  <c:v>1405.0829000000001</c:v>
                </c:pt>
                <c:pt idx="6">
                  <c:v>1747.7023999999999</c:v>
                </c:pt>
                <c:pt idx="7">
                  <c:v>0</c:v>
                </c:pt>
                <c:pt idx="8">
                  <c:v>10745.716700000001</c:v>
                </c:pt>
                <c:pt idx="9">
                  <c:v>0</c:v>
                </c:pt>
                <c:pt idx="10">
                  <c:v>696.43989999999997</c:v>
                </c:pt>
                <c:pt idx="11">
                  <c:v>0</c:v>
                </c:pt>
                <c:pt idx="12">
                  <c:v>1315.2692</c:v>
                </c:pt>
                <c:pt idx="13">
                  <c:v>589.35220000000004</c:v>
                </c:pt>
                <c:pt idx="14">
                  <c:v>1694.594599999999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7418-40C2-BBA7-222AC66045E3}"/>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7418-40C2-BBA7-222AC66045E3}"/>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163</c:v>
                </c:pt>
                <c:pt idx="1">
                  <c:v>16.100000000000001</c:v>
                </c:pt>
                <c:pt idx="2">
                  <c:v>75.7</c:v>
                </c:pt>
                <c:pt idx="3">
                  <c:v>32.6</c:v>
                </c:pt>
                <c:pt idx="4">
                  <c:v>21.9</c:v>
                </c:pt>
                <c:pt idx="5">
                  <c:v>0</c:v>
                </c:pt>
                <c:pt idx="6">
                  <c:v>18.899999999999999</c:v>
                </c:pt>
                <c:pt idx="7">
                  <c:v>5.4</c:v>
                </c:pt>
                <c:pt idx="8">
                  <c:v>10.7</c:v>
                </c:pt>
                <c:pt idx="9">
                  <c:v>0</c:v>
                </c:pt>
                <c:pt idx="10">
                  <c:v>7.3</c:v>
                </c:pt>
                <c:pt idx="11">
                  <c:v>0.2</c:v>
                </c:pt>
                <c:pt idx="12">
                  <c:v>6.7</c:v>
                </c:pt>
                <c:pt idx="13">
                  <c:v>0</c:v>
                </c:pt>
                <c:pt idx="14">
                  <c:v>4.9000000000000004</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6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6.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3.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418-40C2-BBA7-222AC66045E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418-40C2-BBA7-222AC66045E3}"/>
                </c:ext>
              </c:extLst>
            </c:dLbl>
            <c:dLbl>
              <c:idx val="6"/>
              <c:tx>
                <c:rich>
                  <a:bodyPr/>
                  <a:lstStyle/>
                  <a:p>
                    <a:r>
                      <a:t>13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418-40C2-BBA7-222AC66045E3}"/>
                </c:ext>
              </c:extLst>
            </c:dLbl>
            <c:dLbl>
              <c:idx val="7"/>
              <c:tx>
                <c:rich>
                  <a:bodyPr/>
                  <a:lstStyle/>
                  <a:p>
                    <a:r>
                      <a:t>137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418-40C2-BBA7-222AC66045E3}"/>
                </c:ext>
              </c:extLst>
            </c:dLbl>
            <c:dLbl>
              <c:idx val="8"/>
              <c:tx>
                <c:rich>
                  <a:bodyPr/>
                  <a:lstStyle/>
                  <a:p>
                    <a:r>
                      <a:t>10299.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418-40C2-BBA7-222AC66045E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418-40C2-BBA7-222AC66045E3}"/>
                </c:ext>
              </c:extLst>
            </c:dLbl>
            <c:dLbl>
              <c:idx val="10"/>
              <c:tx>
                <c:rich>
                  <a:bodyPr/>
                  <a:lstStyle/>
                  <a:p>
                    <a:r>
                      <a:t>130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418-40C2-BBA7-222AC66045E3}"/>
                </c:ext>
              </c:extLst>
            </c:dLbl>
            <c:dLbl>
              <c:idx val="11"/>
              <c:tx>
                <c:rich>
                  <a:bodyPr/>
                  <a:lstStyle/>
                  <a:p>
                    <a:r>
                      <a:t>5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418-40C2-BBA7-222AC66045E3}"/>
                </c:ext>
              </c:extLst>
            </c:dLbl>
            <c:dLbl>
              <c:idx val="12"/>
              <c:tx>
                <c:rich>
                  <a:bodyPr/>
                  <a:lstStyle/>
                  <a:p>
                    <a:r>
                      <a:t>667.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7418-40C2-BBA7-222AC66045E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418-40C2-BBA7-222AC66045E3}"/>
                </c:ext>
              </c:extLst>
            </c:dLbl>
            <c:dLbl>
              <c:idx val="14"/>
              <c:tx>
                <c:rich>
                  <a:bodyPr/>
                  <a:lstStyle/>
                  <a:p>
                    <a:r>
                      <a:t>1722.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418-40C2-BBA7-222AC66045E3}"/>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418-40C2-BBA7-222AC66045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787.0997</c:v>
                </c:pt>
                <c:pt idx="1">
                  <c:v>1166.3581999999999</c:v>
                </c:pt>
                <c:pt idx="2">
                  <c:v>1382.5326</c:v>
                </c:pt>
                <c:pt idx="3">
                  <c:v>1226.2157</c:v>
                </c:pt>
                <c:pt idx="4">
                  <c:v>1743.6278</c:v>
                </c:pt>
                <c:pt idx="5">
                  <c:v>0</c:v>
                </c:pt>
                <c:pt idx="6">
                  <c:v>1380.7983999999999</c:v>
                </c:pt>
                <c:pt idx="7">
                  <c:v>1378.8157000000001</c:v>
                </c:pt>
                <c:pt idx="8">
                  <c:v>10299.2377</c:v>
                </c:pt>
                <c:pt idx="9">
                  <c:v>0</c:v>
                </c:pt>
                <c:pt idx="10">
                  <c:v>1301.4169999999999</c:v>
                </c:pt>
                <c:pt idx="11">
                  <c:v>584.09810000000004</c:v>
                </c:pt>
                <c:pt idx="12">
                  <c:v>667.12909999999999</c:v>
                </c:pt>
                <c:pt idx="13">
                  <c:v>0</c:v>
                </c:pt>
                <c:pt idx="14">
                  <c:v>1722.985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0A3C-4597-9675-769199145CED}"/>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0A3C-4597-9675-769199145CED}"/>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D$2:$D$15</c:f>
              <c:numCache>
                <c:formatCode>General</c:formatCode>
                <c:ptCount val="14"/>
                <c:pt idx="0">
                  <c:v>144.4</c:v>
                </c:pt>
                <c:pt idx="1">
                  <c:v>8.5</c:v>
                </c:pt>
                <c:pt idx="2">
                  <c:v>48</c:v>
                </c:pt>
                <c:pt idx="3">
                  <c:v>19.8</c:v>
                </c:pt>
                <c:pt idx="4">
                  <c:v>22.4</c:v>
                </c:pt>
                <c:pt idx="5">
                  <c:v>0</c:v>
                </c:pt>
                <c:pt idx="6">
                  <c:v>20.399999999999999</c:v>
                </c:pt>
                <c:pt idx="7">
                  <c:v>0</c:v>
                </c:pt>
                <c:pt idx="8">
                  <c:v>14.1</c:v>
                </c:pt>
                <c:pt idx="9">
                  <c:v>3.9</c:v>
                </c:pt>
                <c:pt idx="10">
                  <c:v>5.2</c:v>
                </c:pt>
                <c:pt idx="11">
                  <c:v>0</c:v>
                </c:pt>
                <c:pt idx="12">
                  <c:v>4.8</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1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64.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6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170.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0A3C-4597-9675-769199145CE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0A3C-4597-9675-769199145CED}"/>
                </c:ext>
              </c:extLst>
            </c:dLbl>
            <c:dLbl>
              <c:idx val="6"/>
              <c:tx>
                <c:rich>
                  <a:bodyPr/>
                  <a:lstStyle/>
                  <a:p>
                    <a:r>
                      <a:t>1059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0A3C-4597-9675-769199145CE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0A3C-4597-9675-769199145CED}"/>
                </c:ext>
              </c:extLst>
            </c:dLbl>
            <c:dLbl>
              <c:idx val="8"/>
              <c:tx>
                <c:rich>
                  <a:bodyPr/>
                  <a:lstStyle/>
                  <a:p>
                    <a:r>
                      <a:t>1425.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0A3C-4597-9675-769199145CED}"/>
                </c:ext>
              </c:extLst>
            </c:dLbl>
            <c:dLbl>
              <c:idx val="9"/>
              <c:tx>
                <c:rich>
                  <a:bodyPr/>
                  <a:lstStyle/>
                  <a:p>
                    <a:r>
                      <a:t>129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0A3C-4597-9675-769199145CED}"/>
                </c:ext>
              </c:extLst>
            </c:dLbl>
            <c:dLbl>
              <c:idx val="10"/>
              <c:tx>
                <c:rich>
                  <a:bodyPr/>
                  <a:lstStyle/>
                  <a:p>
                    <a:r>
                      <a:t>717.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0A3C-4597-9675-769199145CED}"/>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0A3C-4597-9675-769199145CED}"/>
                </c:ext>
              </c:extLst>
            </c:dLbl>
            <c:dLbl>
              <c:idx val="12"/>
              <c:tx>
                <c:rich>
                  <a:bodyPr/>
                  <a:lstStyle/>
                  <a:p>
                    <a:r>
                      <a:t>140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0A3C-4597-9675-769199145CED}"/>
                </c:ext>
              </c:extLst>
            </c:dLbl>
            <c:dLbl>
              <c:idx val="13"/>
              <c:tx>
                <c:rich>
                  <a:bodyPr/>
                  <a:lstStyle/>
                  <a:p>
                    <a:r>
                      <a:t>720.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0A3C-4597-9675-769199145CE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E$2:$E$15</c:f>
              <c:numCache>
                <c:formatCode>General</c:formatCode>
                <c:ptCount val="14"/>
                <c:pt idx="0">
                  <c:v>2212.3442</c:v>
                </c:pt>
                <c:pt idx="1">
                  <c:v>1164.2335</c:v>
                </c:pt>
                <c:pt idx="2">
                  <c:v>1375.4544000000001</c:v>
                </c:pt>
                <c:pt idx="3">
                  <c:v>1163.9256</c:v>
                </c:pt>
                <c:pt idx="4">
                  <c:v>2170.7797999999998</c:v>
                </c:pt>
                <c:pt idx="5">
                  <c:v>0</c:v>
                </c:pt>
                <c:pt idx="6">
                  <c:v>10595.319600000001</c:v>
                </c:pt>
                <c:pt idx="7">
                  <c:v>0</c:v>
                </c:pt>
                <c:pt idx="8">
                  <c:v>1425.3298</c:v>
                </c:pt>
                <c:pt idx="9">
                  <c:v>1292.0886</c:v>
                </c:pt>
                <c:pt idx="10">
                  <c:v>717.40989999999999</c:v>
                </c:pt>
                <c:pt idx="11">
                  <c:v>0</c:v>
                </c:pt>
                <c:pt idx="12">
                  <c:v>1401.0145</c:v>
                </c:pt>
                <c:pt idx="13">
                  <c:v>720.6190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5FDE-48E4-B6F9-C7B953F0DD54}"/>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5FDE-48E4-B6F9-C7B953F0DD54}"/>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D$2:$D$17</c:f>
              <c:numCache>
                <c:formatCode>General</c:formatCode>
                <c:ptCount val="16"/>
                <c:pt idx="0">
                  <c:v>5.4</c:v>
                </c:pt>
                <c:pt idx="1">
                  <c:v>2.9</c:v>
                </c:pt>
                <c:pt idx="2">
                  <c:v>103.1</c:v>
                </c:pt>
                <c:pt idx="3">
                  <c:v>12.8</c:v>
                </c:pt>
                <c:pt idx="4">
                  <c:v>61.9</c:v>
                </c:pt>
                <c:pt idx="5">
                  <c:v>23.1</c:v>
                </c:pt>
                <c:pt idx="6">
                  <c:v>29.5</c:v>
                </c:pt>
                <c:pt idx="7">
                  <c:v>9.9</c:v>
                </c:pt>
                <c:pt idx="8">
                  <c:v>15.9</c:v>
                </c:pt>
                <c:pt idx="9">
                  <c:v>0</c:v>
                </c:pt>
                <c:pt idx="10">
                  <c:v>7.2</c:v>
                </c:pt>
                <c:pt idx="11">
                  <c:v>0</c:v>
                </c:pt>
                <c:pt idx="12">
                  <c:v>6.2</c:v>
                </c:pt>
                <c:pt idx="13">
                  <c:v>0</c:v>
                </c:pt>
                <c:pt idx="14">
                  <c:v>5.3</c:v>
                </c:pt>
                <c:pt idx="15">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627.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4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38.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0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FDE-48E4-B6F9-C7B953F0DD54}"/>
                </c:ext>
              </c:extLst>
            </c:dLbl>
            <c:dLbl>
              <c:idx val="5"/>
              <c:tx>
                <c:rich>
                  <a:bodyPr/>
                  <a:lstStyle/>
                  <a:p>
                    <a:r>
                      <a:t>113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FDE-48E4-B6F9-C7B953F0DD54}"/>
                </c:ext>
              </c:extLst>
            </c:dLbl>
            <c:dLbl>
              <c:idx val="6"/>
              <c:tx>
                <c:rich>
                  <a:bodyPr/>
                  <a:lstStyle/>
                  <a:p>
                    <a:r>
                      <a:t>136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FDE-48E4-B6F9-C7B953F0DD54}"/>
                </c:ext>
              </c:extLst>
            </c:dLbl>
            <c:dLbl>
              <c:idx val="7"/>
              <c:tx>
                <c:rich>
                  <a:bodyPr/>
                  <a:lstStyle/>
                  <a:p>
                    <a:r>
                      <a:t>1367.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FDE-48E4-B6F9-C7B953F0DD54}"/>
                </c:ext>
              </c:extLst>
            </c:dLbl>
            <c:dLbl>
              <c:idx val="8"/>
              <c:tx>
                <c:rich>
                  <a:bodyPr/>
                  <a:lstStyle/>
                  <a:p>
                    <a:r>
                      <a:t>1360.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FDE-48E4-B6F9-C7B953F0DD5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FDE-48E4-B6F9-C7B953F0DD54}"/>
                </c:ext>
              </c:extLst>
            </c:dLbl>
            <c:dLbl>
              <c:idx val="10"/>
              <c:tx>
                <c:rich>
                  <a:bodyPr/>
                  <a:lstStyle/>
                  <a:p>
                    <a:r>
                      <a:t>70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FDE-48E4-B6F9-C7B953F0DD54}"/>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FDE-48E4-B6F9-C7B953F0DD54}"/>
                </c:ext>
              </c:extLst>
            </c:dLbl>
            <c:dLbl>
              <c:idx val="12"/>
              <c:tx>
                <c:rich>
                  <a:bodyPr/>
                  <a:lstStyle/>
                  <a:p>
                    <a:r>
                      <a:t>156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FDE-48E4-B6F9-C7B953F0DD54}"/>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FDE-48E4-B6F9-C7B953F0DD54}"/>
                </c:ext>
              </c:extLst>
            </c:dLbl>
            <c:dLbl>
              <c:idx val="14"/>
              <c:tx>
                <c:rich>
                  <a:bodyPr/>
                  <a:lstStyle/>
                  <a:p>
                    <a:r>
                      <a:t>121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5FDE-48E4-B6F9-C7B953F0DD54}"/>
                </c:ext>
              </c:extLst>
            </c:dLbl>
            <c:dLbl>
              <c:idx val="15"/>
              <c:tx>
                <c:rich>
                  <a:bodyPr/>
                  <a:lstStyle/>
                  <a:p>
                    <a:r>
                      <a:t>547.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5FDE-48E4-B6F9-C7B953F0DD5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E$2:$E$17</c:f>
              <c:numCache>
                <c:formatCode>General</c:formatCode>
                <c:ptCount val="16"/>
                <c:pt idx="0">
                  <c:v>571.51649999999995</c:v>
                </c:pt>
                <c:pt idx="1">
                  <c:v>627.83820000000003</c:v>
                </c:pt>
                <c:pt idx="2">
                  <c:v>1439.95</c:v>
                </c:pt>
                <c:pt idx="3">
                  <c:v>1138.3502000000001</c:v>
                </c:pt>
                <c:pt idx="4">
                  <c:v>1309.0880999999999</c:v>
                </c:pt>
                <c:pt idx="5">
                  <c:v>1135.4699000000001</c:v>
                </c:pt>
                <c:pt idx="6">
                  <c:v>1364.7523000000001</c:v>
                </c:pt>
                <c:pt idx="7">
                  <c:v>1367.384</c:v>
                </c:pt>
                <c:pt idx="8">
                  <c:v>1360.6511</c:v>
                </c:pt>
                <c:pt idx="9">
                  <c:v>0</c:v>
                </c:pt>
                <c:pt idx="10">
                  <c:v>706.37810000000002</c:v>
                </c:pt>
                <c:pt idx="11">
                  <c:v>0</c:v>
                </c:pt>
                <c:pt idx="12">
                  <c:v>1565.1661999999999</c:v>
                </c:pt>
                <c:pt idx="13">
                  <c:v>0</c:v>
                </c:pt>
                <c:pt idx="14">
                  <c:v>1215.4095</c:v>
                </c:pt>
                <c:pt idx="15">
                  <c:v>547.9179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B458-4708-A8C7-7ECECE0102F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B458-4708-A8C7-7ECECE0102F9}"/>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18.4</c:v>
                </c:pt>
                <c:pt idx="1">
                  <c:v>12.5</c:v>
                </c:pt>
                <c:pt idx="2">
                  <c:v>55.1</c:v>
                </c:pt>
                <c:pt idx="3">
                  <c:v>21.6</c:v>
                </c:pt>
                <c:pt idx="4">
                  <c:v>17.899999999999999</c:v>
                </c:pt>
                <c:pt idx="5">
                  <c:v>0</c:v>
                </c:pt>
                <c:pt idx="6">
                  <c:v>15.6</c:v>
                </c:pt>
                <c:pt idx="7">
                  <c:v>4.4000000000000004</c:v>
                </c:pt>
                <c:pt idx="8">
                  <c:v>8.6</c:v>
                </c:pt>
                <c:pt idx="9">
                  <c:v>0</c:v>
                </c:pt>
                <c:pt idx="10">
                  <c:v>6.1</c:v>
                </c:pt>
                <c:pt idx="11">
                  <c:v>0</c:v>
                </c:pt>
                <c:pt idx="12">
                  <c:v>6</c:v>
                </c:pt>
                <c:pt idx="13">
                  <c:v>0.1</c:v>
                </c:pt>
                <c:pt idx="14">
                  <c:v>4.5999999999999996</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55.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94.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2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458-4708-A8C7-7ECECE0102F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458-4708-A8C7-7ECECE0102F9}"/>
                </c:ext>
              </c:extLst>
            </c:dLbl>
            <c:dLbl>
              <c:idx val="6"/>
              <c:tx>
                <c:rich>
                  <a:bodyPr/>
                  <a:lstStyle/>
                  <a:p>
                    <a:r>
                      <a:t>1388.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458-4708-A8C7-7ECECE0102F9}"/>
                </c:ext>
              </c:extLst>
            </c:dLbl>
            <c:dLbl>
              <c:idx val="7"/>
              <c:tx>
                <c:rich>
                  <a:bodyPr/>
                  <a:lstStyle/>
                  <a:p>
                    <a:r>
                      <a:t>140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458-4708-A8C7-7ECECE0102F9}"/>
                </c:ext>
              </c:extLst>
            </c:dLbl>
            <c:dLbl>
              <c:idx val="8"/>
              <c:tx>
                <c:rich>
                  <a:bodyPr/>
                  <a:lstStyle/>
                  <a:p>
                    <a:r>
                      <a:t>1159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458-4708-A8C7-7ECECE0102F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458-4708-A8C7-7ECECE0102F9}"/>
                </c:ext>
              </c:extLst>
            </c:dLbl>
            <c:dLbl>
              <c:idx val="10"/>
              <c:tx>
                <c:rich>
                  <a:bodyPr/>
                  <a:lstStyle/>
                  <a:p>
                    <a:r>
                      <a:t>68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458-4708-A8C7-7ECECE0102F9}"/>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458-4708-A8C7-7ECECE0102F9}"/>
                </c:ext>
              </c:extLst>
            </c:dLbl>
            <c:dLbl>
              <c:idx val="12"/>
              <c:tx>
                <c:rich>
                  <a:bodyPr/>
                  <a:lstStyle/>
                  <a:p>
                    <a:r>
                      <a:t>1303.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458-4708-A8C7-7ECECE0102F9}"/>
                </c:ext>
              </c:extLst>
            </c:dLbl>
            <c:dLbl>
              <c:idx val="13"/>
              <c:tx>
                <c:rich>
                  <a:bodyPr/>
                  <a:lstStyle/>
                  <a:p>
                    <a:r>
                      <a:t>59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458-4708-A8C7-7ECECE0102F9}"/>
                </c:ext>
              </c:extLst>
            </c:dLbl>
            <c:dLbl>
              <c:idx val="14"/>
              <c:tx>
                <c:rich>
                  <a:bodyPr/>
                  <a:lstStyle/>
                  <a:p>
                    <a:r>
                      <a:t>169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458-4708-A8C7-7ECECE0102F9}"/>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458-4708-A8C7-7ECECE0102F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59.42</c:v>
                </c:pt>
                <c:pt idx="1">
                  <c:v>1155.1235999999999</c:v>
                </c:pt>
                <c:pt idx="2">
                  <c:v>1363.1175000000001</c:v>
                </c:pt>
                <c:pt idx="3">
                  <c:v>1194.8177000000001</c:v>
                </c:pt>
                <c:pt idx="4">
                  <c:v>1729.4639</c:v>
                </c:pt>
                <c:pt idx="5">
                  <c:v>0</c:v>
                </c:pt>
                <c:pt idx="6">
                  <c:v>1388.0657000000001</c:v>
                </c:pt>
                <c:pt idx="7">
                  <c:v>1402.184</c:v>
                </c:pt>
                <c:pt idx="8">
                  <c:v>11592.531199999999</c:v>
                </c:pt>
                <c:pt idx="9">
                  <c:v>0</c:v>
                </c:pt>
                <c:pt idx="10">
                  <c:v>682.4479</c:v>
                </c:pt>
                <c:pt idx="11">
                  <c:v>0</c:v>
                </c:pt>
                <c:pt idx="12">
                  <c:v>1303.1286</c:v>
                </c:pt>
                <c:pt idx="13">
                  <c:v>594.5136</c:v>
                </c:pt>
                <c:pt idx="14">
                  <c:v>1696.9402</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BCEB-4F9A-9E61-1F9DCC137C1A}"/>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BCEB-4F9A-9E61-1F9DCC137C1A}"/>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09.4</c:v>
                </c:pt>
                <c:pt idx="1">
                  <c:v>13</c:v>
                </c:pt>
                <c:pt idx="2">
                  <c:v>50.9</c:v>
                </c:pt>
                <c:pt idx="3">
                  <c:v>22.6</c:v>
                </c:pt>
                <c:pt idx="4">
                  <c:v>22.7</c:v>
                </c:pt>
                <c:pt idx="5">
                  <c:v>7.9</c:v>
                </c:pt>
                <c:pt idx="6">
                  <c:v>13.9</c:v>
                </c:pt>
                <c:pt idx="7">
                  <c:v>0</c:v>
                </c:pt>
                <c:pt idx="8">
                  <c:v>7.9</c:v>
                </c:pt>
                <c:pt idx="9">
                  <c:v>0</c:v>
                </c:pt>
                <c:pt idx="10">
                  <c:v>5.9</c:v>
                </c:pt>
                <c:pt idx="11">
                  <c:v>0</c:v>
                </c:pt>
                <c:pt idx="12">
                  <c:v>4.7</c:v>
                </c:pt>
                <c:pt idx="13">
                  <c:v>0.1</c:v>
                </c:pt>
                <c:pt idx="14">
                  <c:v>3.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8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7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CEB-4F9A-9E61-1F9DCC137C1A}"/>
                </c:ext>
              </c:extLst>
            </c:dLbl>
            <c:dLbl>
              <c:idx val="5"/>
              <c:tx>
                <c:rich>
                  <a:bodyPr/>
                  <a:lstStyle/>
                  <a:p>
                    <a:r>
                      <a:t>1480.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CEB-4F9A-9E61-1F9DCC137C1A}"/>
                </c:ext>
              </c:extLst>
            </c:dLbl>
            <c:dLbl>
              <c:idx val="6"/>
              <c:tx>
                <c:rich>
                  <a:bodyPr/>
                  <a:lstStyle/>
                  <a:p>
                    <a:r>
                      <a:t>187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CEB-4F9A-9E61-1F9DCC137C1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CEB-4F9A-9E61-1F9DCC137C1A}"/>
                </c:ext>
              </c:extLst>
            </c:dLbl>
            <c:dLbl>
              <c:idx val="8"/>
              <c:tx>
                <c:rich>
                  <a:bodyPr/>
                  <a:lstStyle/>
                  <a:p>
                    <a:r>
                      <a:t>1164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CEB-4F9A-9E61-1F9DCC137C1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CEB-4F9A-9E61-1F9DCC137C1A}"/>
                </c:ext>
              </c:extLst>
            </c:dLbl>
            <c:dLbl>
              <c:idx val="10"/>
              <c:tx>
                <c:rich>
                  <a:bodyPr/>
                  <a:lstStyle/>
                  <a:p>
                    <a:r>
                      <a:t>69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CEB-4F9A-9E61-1F9DCC137C1A}"/>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CEB-4F9A-9E61-1F9DCC137C1A}"/>
                </c:ext>
              </c:extLst>
            </c:dLbl>
            <c:dLbl>
              <c:idx val="12"/>
              <c:tx>
                <c:rich>
                  <a:bodyPr/>
                  <a:lstStyle/>
                  <a:p>
                    <a:r>
                      <a:t>1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CEB-4F9A-9E61-1F9DCC137C1A}"/>
                </c:ext>
              </c:extLst>
            </c:dLbl>
            <c:dLbl>
              <c:idx val="13"/>
              <c:tx>
                <c:rich>
                  <a:bodyPr/>
                  <a:lstStyle/>
                  <a:p>
                    <a:r>
                      <a:t>645.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CEB-4F9A-9E61-1F9DCC137C1A}"/>
                </c:ext>
              </c:extLst>
            </c:dLbl>
            <c:dLbl>
              <c:idx val="14"/>
              <c:tx>
                <c:rich>
                  <a:bodyPr/>
                  <a:lstStyle/>
                  <a:p>
                    <a:r>
                      <a:t>17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CEB-4F9A-9E61-1F9DCC137C1A}"/>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CEB-4F9A-9E61-1F9DCC137C1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65.6965</c:v>
                </c:pt>
                <c:pt idx="1">
                  <c:v>1183.3975</c:v>
                </c:pt>
                <c:pt idx="2">
                  <c:v>1379.461</c:v>
                </c:pt>
                <c:pt idx="3">
                  <c:v>1223.6135999999999</c:v>
                </c:pt>
                <c:pt idx="4">
                  <c:v>1479.3656000000001</c:v>
                </c:pt>
                <c:pt idx="5">
                  <c:v>1480.3081999999999</c:v>
                </c:pt>
                <c:pt idx="6">
                  <c:v>1874.4972</c:v>
                </c:pt>
                <c:pt idx="7">
                  <c:v>0</c:v>
                </c:pt>
                <c:pt idx="8">
                  <c:v>11640.683000000001</c:v>
                </c:pt>
                <c:pt idx="9">
                  <c:v>0</c:v>
                </c:pt>
                <c:pt idx="10">
                  <c:v>699.10299999999995</c:v>
                </c:pt>
                <c:pt idx="11">
                  <c:v>0</c:v>
                </c:pt>
                <c:pt idx="12">
                  <c:v>1369.9003</c:v>
                </c:pt>
                <c:pt idx="13">
                  <c:v>645.625</c:v>
                </c:pt>
                <c:pt idx="14">
                  <c:v>1774.965799999999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856D-499A-B986-48A902DD9260}"/>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856D-499A-B986-48A902DD9260}"/>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74.599999999999994</c:v>
                </c:pt>
                <c:pt idx="1">
                  <c:v>9.5</c:v>
                </c:pt>
                <c:pt idx="2">
                  <c:v>40.1</c:v>
                </c:pt>
                <c:pt idx="3">
                  <c:v>14.1</c:v>
                </c:pt>
                <c:pt idx="4">
                  <c:v>23.6</c:v>
                </c:pt>
                <c:pt idx="5">
                  <c:v>8</c:v>
                </c:pt>
                <c:pt idx="6">
                  <c:v>10.1</c:v>
                </c:pt>
                <c:pt idx="7">
                  <c:v>0</c:v>
                </c:pt>
                <c:pt idx="8">
                  <c:v>3.8</c:v>
                </c:pt>
                <c:pt idx="9">
                  <c:v>0</c:v>
                </c:pt>
                <c:pt idx="10">
                  <c:v>4.2</c:v>
                </c:pt>
                <c:pt idx="11">
                  <c:v>0</c:v>
                </c:pt>
                <c:pt idx="12">
                  <c:v>3.4</c:v>
                </c:pt>
                <c:pt idx="13">
                  <c:v>0</c:v>
                </c:pt>
                <c:pt idx="14">
                  <c:v>3.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64.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9.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5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856D-499A-B986-48A902DD9260}"/>
                </c:ext>
              </c:extLst>
            </c:dLbl>
            <c:dLbl>
              <c:idx val="5"/>
              <c:tx>
                <c:rich>
                  <a:bodyPr/>
                  <a:lstStyle/>
                  <a:p>
                    <a:r>
                      <a:t>1464.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56D-499A-B986-48A902DD9260}"/>
                </c:ext>
              </c:extLst>
            </c:dLbl>
            <c:dLbl>
              <c:idx val="6"/>
              <c:tx>
                <c:rich>
                  <a:bodyPr/>
                  <a:lstStyle/>
                  <a:p>
                    <a:r>
                      <a:t>16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856D-499A-B986-48A902DD926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56D-499A-B986-48A902DD9260}"/>
                </c:ext>
              </c:extLst>
            </c:dLbl>
            <c:dLbl>
              <c:idx val="8"/>
              <c:tx>
                <c:rich>
                  <a:bodyPr/>
                  <a:lstStyle/>
                  <a:p>
                    <a:r>
                      <a:t>1132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856D-499A-B986-48A902DD926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56D-499A-B986-48A902DD9260}"/>
                </c:ext>
              </c:extLst>
            </c:dLbl>
            <c:dLbl>
              <c:idx val="10"/>
              <c:tx>
                <c:rich>
                  <a:bodyPr/>
                  <a:lstStyle/>
                  <a:p>
                    <a:r>
                      <a:t>13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856D-499A-B986-48A902DD9260}"/>
                </c:ext>
              </c:extLst>
            </c:dLbl>
            <c:dLbl>
              <c:idx val="11"/>
              <c:tx>
                <c:rich>
                  <a:bodyPr/>
                  <a:lstStyle/>
                  <a:p>
                    <a:r>
                      <a:t>53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56D-499A-B986-48A902DD9260}"/>
                </c:ext>
              </c:extLst>
            </c:dLbl>
            <c:dLbl>
              <c:idx val="12"/>
              <c:tx>
                <c:rich>
                  <a:bodyPr/>
                  <a:lstStyle/>
                  <a:p>
                    <a:r>
                      <a:t>727.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856D-499A-B986-48A902DD926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56D-499A-B986-48A902DD9260}"/>
                </c:ext>
              </c:extLst>
            </c:dLbl>
            <c:dLbl>
              <c:idx val="14"/>
              <c:tx>
                <c:rich>
                  <a:bodyPr/>
                  <a:lstStyle/>
                  <a:p>
                    <a:r>
                      <a:t>18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856D-499A-B986-48A902DD9260}"/>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56D-499A-B986-48A902DD926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678.1269</c:v>
                </c:pt>
                <c:pt idx="1">
                  <c:v>1164.2514000000001</c:v>
                </c:pt>
                <c:pt idx="2">
                  <c:v>1384.8006</c:v>
                </c:pt>
                <c:pt idx="3">
                  <c:v>1229.1125999999999</c:v>
                </c:pt>
                <c:pt idx="4">
                  <c:v>1451.2198000000001</c:v>
                </c:pt>
                <c:pt idx="5">
                  <c:v>1464.9631999999999</c:v>
                </c:pt>
                <c:pt idx="6">
                  <c:v>1658.9194</c:v>
                </c:pt>
                <c:pt idx="7">
                  <c:v>0</c:v>
                </c:pt>
                <c:pt idx="8">
                  <c:v>11328.655699999999</c:v>
                </c:pt>
                <c:pt idx="9">
                  <c:v>0</c:v>
                </c:pt>
                <c:pt idx="10">
                  <c:v>1343.6047000000001</c:v>
                </c:pt>
                <c:pt idx="11">
                  <c:v>533.25300000000004</c:v>
                </c:pt>
                <c:pt idx="12">
                  <c:v>727.5068</c:v>
                </c:pt>
                <c:pt idx="13">
                  <c:v>0</c:v>
                </c:pt>
                <c:pt idx="14">
                  <c:v>1811.101100000000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ADFC-405A-A437-A4132DA4E0C5}"/>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ADFC-405A-A437-A4132DA4E0C5}"/>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712.9</c:v>
                </c:pt>
                <c:pt idx="1">
                  <c:v>60.8</c:v>
                </c:pt>
                <c:pt idx="2">
                  <c:v>331.7</c:v>
                </c:pt>
                <c:pt idx="3">
                  <c:v>28.9</c:v>
                </c:pt>
                <c:pt idx="4">
                  <c:v>124.4</c:v>
                </c:pt>
                <c:pt idx="5">
                  <c:v>37.9</c:v>
                </c:pt>
                <c:pt idx="6">
                  <c:v>102.2</c:v>
                </c:pt>
                <c:pt idx="7">
                  <c:v>0</c:v>
                </c:pt>
                <c:pt idx="8">
                  <c:v>54.3</c:v>
                </c:pt>
                <c:pt idx="9">
                  <c:v>0.7</c:v>
                </c:pt>
                <c:pt idx="10">
                  <c:v>34.5</c:v>
                </c:pt>
                <c:pt idx="11">
                  <c:v>5.2</c:v>
                </c:pt>
                <c:pt idx="12">
                  <c:v>32.299999999999997</c:v>
                </c:pt>
                <c:pt idx="13">
                  <c:v>0</c:v>
                </c:pt>
                <c:pt idx="14">
                  <c:v>26.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40.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58.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07.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1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DFC-405A-A437-A4132DA4E0C5}"/>
                </c:ext>
              </c:extLst>
            </c:dLbl>
            <c:dLbl>
              <c:idx val="5"/>
              <c:tx>
                <c:rich>
                  <a:bodyPr/>
                  <a:lstStyle/>
                  <a:p>
                    <a:r>
                      <a:t>126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DFC-405A-A437-A4132DA4E0C5}"/>
                </c:ext>
              </c:extLst>
            </c:dLbl>
            <c:dLbl>
              <c:idx val="6"/>
              <c:tx>
                <c:rich>
                  <a:bodyPr/>
                  <a:lstStyle/>
                  <a:p>
                    <a:r>
                      <a:t>17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DFC-405A-A437-A4132DA4E0C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DFC-405A-A437-A4132DA4E0C5}"/>
                </c:ext>
              </c:extLst>
            </c:dLbl>
            <c:dLbl>
              <c:idx val="8"/>
              <c:tx>
                <c:rich>
                  <a:bodyPr/>
                  <a:lstStyle/>
                  <a:p>
                    <a:r>
                      <a:t>1074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DFC-405A-A437-A4132DA4E0C5}"/>
                </c:ext>
              </c:extLst>
            </c:dLbl>
            <c:dLbl>
              <c:idx val="9"/>
              <c:tx>
                <c:rich>
                  <a:bodyPr/>
                  <a:lstStyle/>
                  <a:p>
                    <a:r>
                      <a:t>56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DFC-405A-A437-A4132DA4E0C5}"/>
                </c:ext>
              </c:extLst>
            </c:dLbl>
            <c:dLbl>
              <c:idx val="10"/>
              <c:tx>
                <c:rich>
                  <a:bodyPr/>
                  <a:lstStyle/>
                  <a:p>
                    <a:r>
                      <a:t>696.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DFC-405A-A437-A4132DA4E0C5}"/>
                </c:ext>
              </c:extLst>
            </c:dLbl>
            <c:dLbl>
              <c:idx val="11"/>
              <c:tx>
                <c:rich>
                  <a:bodyPr/>
                  <a:lstStyle/>
                  <a:p>
                    <a:r>
                      <a:t>1057.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DFC-405A-A437-A4132DA4E0C5}"/>
                </c:ext>
              </c:extLst>
            </c:dLbl>
            <c:dLbl>
              <c:idx val="12"/>
              <c:tx>
                <c:rich>
                  <a:bodyPr/>
                  <a:lstStyle/>
                  <a:p>
                    <a:r>
                      <a:t>131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DFC-405A-A437-A4132DA4E0C5}"/>
                </c:ext>
              </c:extLst>
            </c:dLbl>
            <c:dLbl>
              <c:idx val="13"/>
              <c:tx>
                <c:rich>
                  <a:bodyPr/>
                  <a:lstStyle/>
                  <a:p>
                    <a:r>
                      <a:t>718.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DFC-405A-A437-A4132DA4E0C5}"/>
                </c:ext>
              </c:extLst>
            </c:dLbl>
            <c:dLbl>
              <c:idx val="14"/>
              <c:tx>
                <c:rich>
                  <a:bodyPr/>
                  <a:lstStyle/>
                  <a:p>
                    <a:r>
                      <a:t>1694.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DFC-405A-A437-A4132DA4E0C5}"/>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DFC-405A-A437-A4132DA4E0C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740.6312</c:v>
                </c:pt>
                <c:pt idx="1">
                  <c:v>1058.7465</c:v>
                </c:pt>
                <c:pt idx="2">
                  <c:v>1363.8255999999999</c:v>
                </c:pt>
                <c:pt idx="3">
                  <c:v>1107.0287000000001</c:v>
                </c:pt>
                <c:pt idx="4">
                  <c:v>1412.9780000000001</c:v>
                </c:pt>
                <c:pt idx="5">
                  <c:v>1264.2086999999999</c:v>
                </c:pt>
                <c:pt idx="6">
                  <c:v>1747.7023999999999</c:v>
                </c:pt>
                <c:pt idx="7">
                  <c:v>0</c:v>
                </c:pt>
                <c:pt idx="8">
                  <c:v>10745.716700000001</c:v>
                </c:pt>
                <c:pt idx="9">
                  <c:v>5633.8</c:v>
                </c:pt>
                <c:pt idx="10">
                  <c:v>696.43989999999997</c:v>
                </c:pt>
                <c:pt idx="11">
                  <c:v>1057.8791000000001</c:v>
                </c:pt>
                <c:pt idx="12">
                  <c:v>1315.2692</c:v>
                </c:pt>
                <c:pt idx="13">
                  <c:v>718.69389999999999</c:v>
                </c:pt>
                <c:pt idx="14">
                  <c:v>1694.594599999999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D1C-46F4-B8C8-F47F70EFDE9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FD1C-46F4-B8C8-F47F70EFDE99}"/>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163</c:v>
                </c:pt>
                <c:pt idx="1">
                  <c:v>12.9</c:v>
                </c:pt>
                <c:pt idx="2">
                  <c:v>75.7</c:v>
                </c:pt>
                <c:pt idx="3">
                  <c:v>7.4</c:v>
                </c:pt>
                <c:pt idx="4">
                  <c:v>21.9</c:v>
                </c:pt>
                <c:pt idx="5">
                  <c:v>0</c:v>
                </c:pt>
                <c:pt idx="6">
                  <c:v>18.899999999999999</c:v>
                </c:pt>
                <c:pt idx="7">
                  <c:v>5.2</c:v>
                </c:pt>
                <c:pt idx="8">
                  <c:v>10.7</c:v>
                </c:pt>
                <c:pt idx="9">
                  <c:v>0.3</c:v>
                </c:pt>
                <c:pt idx="10">
                  <c:v>7.3</c:v>
                </c:pt>
                <c:pt idx="11">
                  <c:v>0</c:v>
                </c:pt>
                <c:pt idx="12">
                  <c:v>6.7</c:v>
                </c:pt>
                <c:pt idx="13">
                  <c:v>1</c:v>
                </c:pt>
                <c:pt idx="14">
                  <c:v>4.9000000000000004</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62.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072.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3.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D1C-46F4-B8C8-F47F70EFDE9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D1C-46F4-B8C8-F47F70EFDE99}"/>
                </c:ext>
              </c:extLst>
            </c:dLbl>
            <c:dLbl>
              <c:idx val="6"/>
              <c:tx>
                <c:rich>
                  <a:bodyPr/>
                  <a:lstStyle/>
                  <a:p>
                    <a:r>
                      <a:t>13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D1C-46F4-B8C8-F47F70EFDE99}"/>
                </c:ext>
              </c:extLst>
            </c:dLbl>
            <c:dLbl>
              <c:idx val="7"/>
              <c:tx>
                <c:rich>
                  <a:bodyPr/>
                  <a:lstStyle/>
                  <a:p>
                    <a:r>
                      <a:t>114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D1C-46F4-B8C8-F47F70EFDE99}"/>
                </c:ext>
              </c:extLst>
            </c:dLbl>
            <c:dLbl>
              <c:idx val="8"/>
              <c:tx>
                <c:rich>
                  <a:bodyPr/>
                  <a:lstStyle/>
                  <a:p>
                    <a:r>
                      <a:t>10299.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D1C-46F4-B8C8-F47F70EFDE99}"/>
                </c:ext>
              </c:extLst>
            </c:dLbl>
            <c:dLbl>
              <c:idx val="9"/>
              <c:tx>
                <c:rich>
                  <a:bodyPr/>
                  <a:lstStyle/>
                  <a:p>
                    <a:r>
                      <a:t>54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D1C-46F4-B8C8-F47F70EFDE99}"/>
                </c:ext>
              </c:extLst>
            </c:dLbl>
            <c:dLbl>
              <c:idx val="10"/>
              <c:tx>
                <c:rich>
                  <a:bodyPr/>
                  <a:lstStyle/>
                  <a:p>
                    <a:r>
                      <a:t>130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D1C-46F4-B8C8-F47F70EFDE99}"/>
                </c:ext>
              </c:extLst>
            </c:dLbl>
            <c:dLbl>
              <c:idx val="11"/>
              <c:tx>
                <c:rich>
                  <a:bodyPr/>
                  <a:lstStyle/>
                  <a:p>
                    <a:r>
                      <a:t>584.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D1C-46F4-B8C8-F47F70EFDE99}"/>
                </c:ext>
              </c:extLst>
            </c:dLbl>
            <c:dLbl>
              <c:idx val="12"/>
              <c:tx>
                <c:rich>
                  <a:bodyPr/>
                  <a:lstStyle/>
                  <a:p>
                    <a:r>
                      <a:t>667.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D1C-46F4-B8C8-F47F70EFDE99}"/>
                </c:ext>
              </c:extLst>
            </c:dLbl>
            <c:dLbl>
              <c:idx val="13"/>
              <c:tx>
                <c:rich>
                  <a:bodyPr/>
                  <a:lstStyle/>
                  <a:p>
                    <a:r>
                      <a:t>108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D1C-46F4-B8C8-F47F70EFDE99}"/>
                </c:ext>
              </c:extLst>
            </c:dLbl>
            <c:dLbl>
              <c:idx val="14"/>
              <c:tx>
                <c:rich>
                  <a:bodyPr/>
                  <a:lstStyle/>
                  <a:p>
                    <a:r>
                      <a:t>1722.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D1C-46F4-B8C8-F47F70EFDE99}"/>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D1C-46F4-B8C8-F47F70EFDE9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787.0997</c:v>
                </c:pt>
                <c:pt idx="1">
                  <c:v>1062.9917</c:v>
                </c:pt>
                <c:pt idx="2">
                  <c:v>1382.5326</c:v>
                </c:pt>
                <c:pt idx="3">
                  <c:v>1072.8915</c:v>
                </c:pt>
                <c:pt idx="4">
                  <c:v>1743.6278</c:v>
                </c:pt>
                <c:pt idx="5">
                  <c:v>0</c:v>
                </c:pt>
                <c:pt idx="6">
                  <c:v>1380.7983999999999</c:v>
                </c:pt>
                <c:pt idx="7">
                  <c:v>1140.6837</c:v>
                </c:pt>
                <c:pt idx="8">
                  <c:v>10299.2377</c:v>
                </c:pt>
                <c:pt idx="9">
                  <c:v>5413.5</c:v>
                </c:pt>
                <c:pt idx="10">
                  <c:v>1301.4169999999999</c:v>
                </c:pt>
                <c:pt idx="11">
                  <c:v>584.88459999999998</c:v>
                </c:pt>
                <c:pt idx="12">
                  <c:v>667.12909999999999</c:v>
                </c:pt>
                <c:pt idx="13">
                  <c:v>1081.1088999999999</c:v>
                </c:pt>
                <c:pt idx="14">
                  <c:v>1722.985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2EE8-486D-862C-E5100195C22B}"/>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2EE8-486D-862C-E5100195C22B}"/>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D$2:$D$15</c:f>
              <c:numCache>
                <c:formatCode>General</c:formatCode>
                <c:ptCount val="14"/>
                <c:pt idx="0">
                  <c:v>144.4</c:v>
                </c:pt>
                <c:pt idx="1">
                  <c:v>9.6999999999999993</c:v>
                </c:pt>
                <c:pt idx="2">
                  <c:v>48</c:v>
                </c:pt>
                <c:pt idx="3">
                  <c:v>5.6</c:v>
                </c:pt>
                <c:pt idx="4">
                  <c:v>22.4</c:v>
                </c:pt>
                <c:pt idx="5">
                  <c:v>0</c:v>
                </c:pt>
                <c:pt idx="6">
                  <c:v>20.399999999999999</c:v>
                </c:pt>
                <c:pt idx="7">
                  <c:v>0.1</c:v>
                </c:pt>
                <c:pt idx="8">
                  <c:v>14.1</c:v>
                </c:pt>
                <c:pt idx="9">
                  <c:v>4.3</c:v>
                </c:pt>
                <c:pt idx="10">
                  <c:v>5.2</c:v>
                </c:pt>
                <c:pt idx="11">
                  <c:v>0.5</c:v>
                </c:pt>
                <c:pt idx="12">
                  <c:v>4.8</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1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25.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3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170.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EE8-486D-862C-E5100195C22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EE8-486D-862C-E5100195C22B}"/>
                </c:ext>
              </c:extLst>
            </c:dLbl>
            <c:dLbl>
              <c:idx val="6"/>
              <c:tx>
                <c:rich>
                  <a:bodyPr/>
                  <a:lstStyle/>
                  <a:p>
                    <a:r>
                      <a:t>1059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EE8-486D-862C-E5100195C22B}"/>
                </c:ext>
              </c:extLst>
            </c:dLbl>
            <c:dLbl>
              <c:idx val="7"/>
              <c:tx>
                <c:rich>
                  <a:bodyPr/>
                  <a:lstStyle/>
                  <a:p>
                    <a:r>
                      <a:t>5846.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EE8-486D-862C-E5100195C22B}"/>
                </c:ext>
              </c:extLst>
            </c:dLbl>
            <c:dLbl>
              <c:idx val="8"/>
              <c:tx>
                <c:rich>
                  <a:bodyPr/>
                  <a:lstStyle/>
                  <a:p>
                    <a:r>
                      <a:t>1425.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EE8-486D-862C-E5100195C22B}"/>
                </c:ext>
              </c:extLst>
            </c:dLbl>
            <c:dLbl>
              <c:idx val="9"/>
              <c:tx>
                <c:rich>
                  <a:bodyPr/>
                  <a:lstStyle/>
                  <a:p>
                    <a:r>
                      <a:t>1139.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EE8-486D-862C-E5100195C22B}"/>
                </c:ext>
              </c:extLst>
            </c:dLbl>
            <c:dLbl>
              <c:idx val="10"/>
              <c:tx>
                <c:rich>
                  <a:bodyPr/>
                  <a:lstStyle/>
                  <a:p>
                    <a:r>
                      <a:t>717.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EE8-486D-862C-E5100195C22B}"/>
                </c:ext>
              </c:extLst>
            </c:dLbl>
            <c:dLbl>
              <c:idx val="11"/>
              <c:tx>
                <c:rich>
                  <a:bodyPr/>
                  <a:lstStyle/>
                  <a:p>
                    <a:r>
                      <a:t>104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EE8-486D-862C-E5100195C22B}"/>
                </c:ext>
              </c:extLst>
            </c:dLbl>
            <c:dLbl>
              <c:idx val="12"/>
              <c:tx>
                <c:rich>
                  <a:bodyPr/>
                  <a:lstStyle/>
                  <a:p>
                    <a:r>
                      <a:t>140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EE8-486D-862C-E5100195C22B}"/>
                </c:ext>
              </c:extLst>
            </c:dLbl>
            <c:dLbl>
              <c:idx val="13"/>
              <c:tx>
                <c:rich>
                  <a:bodyPr/>
                  <a:lstStyle/>
                  <a:p>
                    <a:r>
                      <a:t>255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EE8-486D-862C-E5100195C22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E$2:$E$15</c:f>
              <c:numCache>
                <c:formatCode>General</c:formatCode>
                <c:ptCount val="14"/>
                <c:pt idx="0">
                  <c:v>2212.3442</c:v>
                </c:pt>
                <c:pt idx="1">
                  <c:v>1025.9775999999999</c:v>
                </c:pt>
                <c:pt idx="2">
                  <c:v>1375.4544000000001</c:v>
                </c:pt>
                <c:pt idx="3">
                  <c:v>1137.6968999999999</c:v>
                </c:pt>
                <c:pt idx="4">
                  <c:v>2170.7797999999998</c:v>
                </c:pt>
                <c:pt idx="5">
                  <c:v>0</c:v>
                </c:pt>
                <c:pt idx="6">
                  <c:v>10595.319600000001</c:v>
                </c:pt>
                <c:pt idx="7">
                  <c:v>5846.7142999999996</c:v>
                </c:pt>
                <c:pt idx="8">
                  <c:v>1425.3298</c:v>
                </c:pt>
                <c:pt idx="9">
                  <c:v>1139.4894999999999</c:v>
                </c:pt>
                <c:pt idx="10">
                  <c:v>717.40989999999999</c:v>
                </c:pt>
                <c:pt idx="11">
                  <c:v>1045.8996</c:v>
                </c:pt>
                <c:pt idx="12">
                  <c:v>1401.0145</c:v>
                </c:pt>
                <c:pt idx="13">
                  <c:v>255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E41C115-DCDF-422E-84D8-599661B02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1E9CE49-34C7-427B-93E9-C334A02D1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20BD5CF-898F-4111-9A3F-0BAB960C0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01CE841-02A4-4C76-8B21-5D0838959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84957CA-0A1F-47A3-9B17-EF5CBBACD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3329854-3DAC-48E2-9AA3-40951ABBE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F9CC48F-7C93-43EF-A7A8-CC7C84467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EC0966F-3B73-468C-9012-6675ADC01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8.85989999999998</c:v>
                </c:pt>
                <c:pt idx="1">
                  <c:v>239.55940000000001</c:v>
                </c:pt>
                <c:pt idx="2">
                  <c:v>74.983099999999993</c:v>
                </c:pt>
                <c:pt idx="3">
                  <c:v>74.660899999999998</c:v>
                </c:pt>
                <c:pt idx="4">
                  <c:v>741.24130000000002</c:v>
                </c:pt>
                <c:pt idx="5">
                  <c:v>569.50909999999999</c:v>
                </c:pt>
                <c:pt idx="6">
                  <c:v>560.73360000000002</c:v>
                </c:pt>
                <c:pt idx="7">
                  <c:v>137.1001</c:v>
                </c:pt>
              </c:numCache>
            </c:numRef>
          </c:xVal>
          <c:yVal>
            <c:numRef>
              <c:f>Sheet1!$B$2:$B$9</c:f>
              <c:numCache>
                <c:formatCode>General</c:formatCode>
                <c:ptCount val="8"/>
                <c:pt idx="0">
                  <c:v>1.2949999999999999</c:v>
                </c:pt>
                <c:pt idx="1">
                  <c:v>1.099</c:v>
                </c:pt>
                <c:pt idx="2">
                  <c:v>0.51600000000000001</c:v>
                </c:pt>
                <c:pt idx="3">
                  <c:v>0.56000000000000005</c:v>
                </c:pt>
                <c:pt idx="4">
                  <c:v>4.4420000000000002</c:v>
                </c:pt>
                <c:pt idx="5">
                  <c:v>2.5289999999999999</c:v>
                </c:pt>
                <c:pt idx="6">
                  <c:v>2.6579999999999999</c:v>
                </c:pt>
                <c:pt idx="7">
                  <c:v>0.52500000000000002</c:v>
                </c:pt>
              </c:numCache>
            </c:numRef>
          </c:yVal>
          <c:bubbleSize>
            <c:numRef>
              <c:f>Sheet1!$C$2:$C$9</c:f>
              <c:numCache>
                <c:formatCode>General</c:formatCode>
                <c:ptCount val="8"/>
                <c:pt idx="0">
                  <c:v>12991918</c:v>
                </c:pt>
                <c:pt idx="1">
                  <c:v>7281167</c:v>
                </c:pt>
                <c:pt idx="2">
                  <c:v>2686718</c:v>
                </c:pt>
                <c:pt idx="3">
                  <c:v>1376673</c:v>
                </c:pt>
                <c:pt idx="4">
                  <c:v>405459</c:v>
                </c:pt>
                <c:pt idx="5">
                  <c:v>343414</c:v>
                </c:pt>
                <c:pt idx="6">
                  <c:v>298871</c:v>
                </c:pt>
                <c:pt idx="7">
                  <c:v>154786</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Eucerin</c:v>
                  </c:pt>
                  <c:pt idx="7">
                    <c:v>Hawaiian Tropic</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9"/>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5E6F-4CC3-82B6-AA1992456F6F}"/>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5E6F-4CC3-82B6-AA1992456F6F}"/>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D$2:$D$17</c:f>
              <c:numCache>
                <c:formatCode>General</c:formatCode>
                <c:ptCount val="16"/>
                <c:pt idx="0">
                  <c:v>5.4</c:v>
                </c:pt>
                <c:pt idx="1">
                  <c:v>1.3</c:v>
                </c:pt>
                <c:pt idx="2">
                  <c:v>103.1</c:v>
                </c:pt>
                <c:pt idx="3">
                  <c:v>8.6999999999999993</c:v>
                </c:pt>
                <c:pt idx="4">
                  <c:v>61.9</c:v>
                </c:pt>
                <c:pt idx="5">
                  <c:v>3.4</c:v>
                </c:pt>
                <c:pt idx="6">
                  <c:v>29.5</c:v>
                </c:pt>
                <c:pt idx="7">
                  <c:v>7.8</c:v>
                </c:pt>
                <c:pt idx="8">
                  <c:v>15.9</c:v>
                </c:pt>
                <c:pt idx="9">
                  <c:v>0</c:v>
                </c:pt>
                <c:pt idx="10">
                  <c:v>7.2</c:v>
                </c:pt>
                <c:pt idx="11">
                  <c:v>1.1000000000000001</c:v>
                </c:pt>
                <c:pt idx="12">
                  <c:v>6.2</c:v>
                </c:pt>
                <c:pt idx="13">
                  <c:v>0</c:v>
                </c:pt>
                <c:pt idx="14">
                  <c:v>5.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4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05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0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E6F-4CC3-82B6-AA1992456F6F}"/>
                </c:ext>
              </c:extLst>
            </c:dLbl>
            <c:dLbl>
              <c:idx val="5"/>
              <c:tx>
                <c:rich>
                  <a:bodyPr/>
                  <a:lstStyle/>
                  <a:p>
                    <a:r>
                      <a:t>113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E6F-4CC3-82B6-AA1992456F6F}"/>
                </c:ext>
              </c:extLst>
            </c:dLbl>
            <c:dLbl>
              <c:idx val="6"/>
              <c:tx>
                <c:rich>
                  <a:bodyPr/>
                  <a:lstStyle/>
                  <a:p>
                    <a:r>
                      <a:t>136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E6F-4CC3-82B6-AA1992456F6F}"/>
                </c:ext>
              </c:extLst>
            </c:dLbl>
            <c:dLbl>
              <c:idx val="7"/>
              <c:tx>
                <c:rich>
                  <a:bodyPr/>
                  <a:lstStyle/>
                  <a:p>
                    <a:r>
                      <a:t>125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E6F-4CC3-82B6-AA1992456F6F}"/>
                </c:ext>
              </c:extLst>
            </c:dLbl>
            <c:dLbl>
              <c:idx val="8"/>
              <c:tx>
                <c:rich>
                  <a:bodyPr/>
                  <a:lstStyle/>
                  <a:p>
                    <a:r>
                      <a:t>1360.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E6F-4CC3-82B6-AA1992456F6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E6F-4CC3-82B6-AA1992456F6F}"/>
                </c:ext>
              </c:extLst>
            </c:dLbl>
            <c:dLbl>
              <c:idx val="10"/>
              <c:tx>
                <c:rich>
                  <a:bodyPr/>
                  <a:lstStyle/>
                  <a:p>
                    <a:r>
                      <a:t>70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E6F-4CC3-82B6-AA1992456F6F}"/>
                </c:ext>
              </c:extLst>
            </c:dLbl>
            <c:dLbl>
              <c:idx val="11"/>
              <c:tx>
                <c:rich>
                  <a:bodyPr/>
                  <a:lstStyle/>
                  <a:p>
                    <a:r>
                      <a:t>90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E6F-4CC3-82B6-AA1992456F6F}"/>
                </c:ext>
              </c:extLst>
            </c:dLbl>
            <c:dLbl>
              <c:idx val="12"/>
              <c:tx>
                <c:rich>
                  <a:bodyPr/>
                  <a:lstStyle/>
                  <a:p>
                    <a:r>
                      <a:t>156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E6F-4CC3-82B6-AA1992456F6F}"/>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E6F-4CC3-82B6-AA1992456F6F}"/>
                </c:ext>
              </c:extLst>
            </c:dLbl>
            <c:dLbl>
              <c:idx val="14"/>
              <c:tx>
                <c:rich>
                  <a:bodyPr/>
                  <a:lstStyle/>
                  <a:p>
                    <a:r>
                      <a:t>121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5E6F-4CC3-82B6-AA1992456F6F}"/>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5E6F-4CC3-82B6-AA1992456F6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E$2:$E$17</c:f>
              <c:numCache>
                <c:formatCode>General</c:formatCode>
                <c:ptCount val="16"/>
                <c:pt idx="0">
                  <c:v>571.51649999999995</c:v>
                </c:pt>
                <c:pt idx="1">
                  <c:v>424.45600000000002</c:v>
                </c:pt>
                <c:pt idx="2">
                  <c:v>1439.95</c:v>
                </c:pt>
                <c:pt idx="3">
                  <c:v>1053.4042999999999</c:v>
                </c:pt>
                <c:pt idx="4">
                  <c:v>1309.0880999999999</c:v>
                </c:pt>
                <c:pt idx="5">
                  <c:v>1131.8087</c:v>
                </c:pt>
                <c:pt idx="6">
                  <c:v>1364.7523000000001</c:v>
                </c:pt>
                <c:pt idx="7">
                  <c:v>1251.8498</c:v>
                </c:pt>
                <c:pt idx="8">
                  <c:v>1360.6511</c:v>
                </c:pt>
                <c:pt idx="9">
                  <c:v>0</c:v>
                </c:pt>
                <c:pt idx="10">
                  <c:v>706.37810000000002</c:v>
                </c:pt>
                <c:pt idx="11">
                  <c:v>907.79849999999999</c:v>
                </c:pt>
                <c:pt idx="12">
                  <c:v>1565.1661999999999</c:v>
                </c:pt>
                <c:pt idx="13">
                  <c:v>0</c:v>
                </c:pt>
                <c:pt idx="14">
                  <c:v>1215.409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C28F-47AE-B56A-DE0D89E71E4E}"/>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C28F-47AE-B56A-DE0D89E71E4E}"/>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18.4</c:v>
                </c:pt>
                <c:pt idx="1">
                  <c:v>10.3</c:v>
                </c:pt>
                <c:pt idx="2">
                  <c:v>55.1</c:v>
                </c:pt>
                <c:pt idx="3">
                  <c:v>4.5999999999999996</c:v>
                </c:pt>
                <c:pt idx="4">
                  <c:v>17.899999999999999</c:v>
                </c:pt>
                <c:pt idx="5">
                  <c:v>0</c:v>
                </c:pt>
                <c:pt idx="6">
                  <c:v>15.6</c:v>
                </c:pt>
                <c:pt idx="7">
                  <c:v>4.4000000000000004</c:v>
                </c:pt>
                <c:pt idx="8">
                  <c:v>8.6</c:v>
                </c:pt>
                <c:pt idx="9">
                  <c:v>0.1</c:v>
                </c:pt>
                <c:pt idx="10">
                  <c:v>6.1</c:v>
                </c:pt>
                <c:pt idx="11">
                  <c:v>0.9</c:v>
                </c:pt>
                <c:pt idx="12">
                  <c:v>6</c:v>
                </c:pt>
                <c:pt idx="13">
                  <c:v>0</c:v>
                </c:pt>
                <c:pt idx="14">
                  <c:v>4.5999999999999996</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5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09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2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28F-47AE-B56A-DE0D89E71E4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28F-47AE-B56A-DE0D89E71E4E}"/>
                </c:ext>
              </c:extLst>
            </c:dLbl>
            <c:dLbl>
              <c:idx val="6"/>
              <c:tx>
                <c:rich>
                  <a:bodyPr/>
                  <a:lstStyle/>
                  <a:p>
                    <a:r>
                      <a:t>1388.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28F-47AE-B56A-DE0D89E71E4E}"/>
                </c:ext>
              </c:extLst>
            </c:dLbl>
            <c:dLbl>
              <c:idx val="7"/>
              <c:tx>
                <c:rich>
                  <a:bodyPr/>
                  <a:lstStyle/>
                  <a:p>
                    <a:r>
                      <a:t>117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28F-47AE-B56A-DE0D89E71E4E}"/>
                </c:ext>
              </c:extLst>
            </c:dLbl>
            <c:dLbl>
              <c:idx val="8"/>
              <c:tx>
                <c:rich>
                  <a:bodyPr/>
                  <a:lstStyle/>
                  <a:p>
                    <a:r>
                      <a:t>1159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C28F-47AE-B56A-DE0D89E71E4E}"/>
                </c:ext>
              </c:extLst>
            </c:dLbl>
            <c:dLbl>
              <c:idx val="9"/>
              <c:tx>
                <c:rich>
                  <a:bodyPr/>
                  <a:lstStyle/>
                  <a:p>
                    <a:r>
                      <a:t>50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C28F-47AE-B56A-DE0D89E71E4E}"/>
                </c:ext>
              </c:extLst>
            </c:dLbl>
            <c:dLbl>
              <c:idx val="10"/>
              <c:tx>
                <c:rich>
                  <a:bodyPr/>
                  <a:lstStyle/>
                  <a:p>
                    <a:r>
                      <a:t>68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C28F-47AE-B56A-DE0D89E71E4E}"/>
                </c:ext>
              </c:extLst>
            </c:dLbl>
            <c:dLbl>
              <c:idx val="11"/>
              <c:tx>
                <c:rich>
                  <a:bodyPr/>
                  <a:lstStyle/>
                  <a:p>
                    <a:r>
                      <a:t>107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C28F-47AE-B56A-DE0D89E71E4E}"/>
                </c:ext>
              </c:extLst>
            </c:dLbl>
            <c:dLbl>
              <c:idx val="12"/>
              <c:tx>
                <c:rich>
                  <a:bodyPr/>
                  <a:lstStyle/>
                  <a:p>
                    <a:r>
                      <a:t>1303.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C28F-47AE-B56A-DE0D89E71E4E}"/>
                </c:ext>
              </c:extLst>
            </c:dLbl>
            <c:dLbl>
              <c:idx val="13"/>
              <c:tx>
                <c:rich>
                  <a:bodyPr/>
                  <a:lstStyle/>
                  <a:p>
                    <a:r>
                      <a:t>849.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C28F-47AE-B56A-DE0D89E71E4E}"/>
                </c:ext>
              </c:extLst>
            </c:dLbl>
            <c:dLbl>
              <c:idx val="14"/>
              <c:tx>
                <c:rich>
                  <a:bodyPr/>
                  <a:lstStyle/>
                  <a:p>
                    <a:r>
                      <a:t>169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C28F-47AE-B56A-DE0D89E71E4E}"/>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28F-47AE-B56A-DE0D89E71E4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59.42</c:v>
                </c:pt>
                <c:pt idx="1">
                  <c:v>1056.3788</c:v>
                </c:pt>
                <c:pt idx="2">
                  <c:v>1363.1175000000001</c:v>
                </c:pt>
                <c:pt idx="3">
                  <c:v>1095.0482</c:v>
                </c:pt>
                <c:pt idx="4">
                  <c:v>1729.4639</c:v>
                </c:pt>
                <c:pt idx="5">
                  <c:v>0</c:v>
                </c:pt>
                <c:pt idx="6">
                  <c:v>1388.0657000000001</c:v>
                </c:pt>
                <c:pt idx="7">
                  <c:v>1175.0486000000001</c:v>
                </c:pt>
                <c:pt idx="8">
                  <c:v>11592.531199999999</c:v>
                </c:pt>
                <c:pt idx="9">
                  <c:v>5096.5</c:v>
                </c:pt>
                <c:pt idx="10">
                  <c:v>682.4479</c:v>
                </c:pt>
                <c:pt idx="11">
                  <c:v>1070.5155999999999</c:v>
                </c:pt>
                <c:pt idx="12">
                  <c:v>1303.1286</c:v>
                </c:pt>
                <c:pt idx="13">
                  <c:v>849.28570000000002</c:v>
                </c:pt>
                <c:pt idx="14">
                  <c:v>1696.9402</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5045-4C99-9C3F-B3B986C3C124}"/>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5045-4C99-9C3F-B3B986C3C124}"/>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09.4</c:v>
                </c:pt>
                <c:pt idx="1">
                  <c:v>12.1</c:v>
                </c:pt>
                <c:pt idx="2">
                  <c:v>50.9</c:v>
                </c:pt>
                <c:pt idx="3">
                  <c:v>4.8</c:v>
                </c:pt>
                <c:pt idx="4">
                  <c:v>22.7</c:v>
                </c:pt>
                <c:pt idx="5">
                  <c:v>7.6</c:v>
                </c:pt>
                <c:pt idx="6">
                  <c:v>13.9</c:v>
                </c:pt>
                <c:pt idx="7">
                  <c:v>0</c:v>
                </c:pt>
                <c:pt idx="8">
                  <c:v>7.9</c:v>
                </c:pt>
                <c:pt idx="9">
                  <c:v>0.1</c:v>
                </c:pt>
                <c:pt idx="10">
                  <c:v>5.9</c:v>
                </c:pt>
                <c:pt idx="11">
                  <c:v>0.9</c:v>
                </c:pt>
                <c:pt idx="12">
                  <c:v>4.7</c:v>
                </c:pt>
                <c:pt idx="13">
                  <c:v>0</c:v>
                </c:pt>
                <c:pt idx="14">
                  <c:v>3.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7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17.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7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045-4C99-9C3F-B3B986C3C124}"/>
                </c:ext>
              </c:extLst>
            </c:dLbl>
            <c:dLbl>
              <c:idx val="5"/>
              <c:tx>
                <c:rich>
                  <a:bodyPr/>
                  <a:lstStyle/>
                  <a:p>
                    <a:r>
                      <a:t>1396.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045-4C99-9C3F-B3B986C3C124}"/>
                </c:ext>
              </c:extLst>
            </c:dLbl>
            <c:dLbl>
              <c:idx val="6"/>
              <c:tx>
                <c:rich>
                  <a:bodyPr/>
                  <a:lstStyle/>
                  <a:p>
                    <a:r>
                      <a:t>187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045-4C99-9C3F-B3B986C3C124}"/>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045-4C99-9C3F-B3B986C3C124}"/>
                </c:ext>
              </c:extLst>
            </c:dLbl>
            <c:dLbl>
              <c:idx val="8"/>
              <c:tx>
                <c:rich>
                  <a:bodyPr/>
                  <a:lstStyle/>
                  <a:p>
                    <a:r>
                      <a:t>1164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045-4C99-9C3F-B3B986C3C124}"/>
                </c:ext>
              </c:extLst>
            </c:dLbl>
            <c:dLbl>
              <c:idx val="9"/>
              <c:tx>
                <c:rich>
                  <a:bodyPr/>
                  <a:lstStyle/>
                  <a:p>
                    <a:r>
                      <a:t>6429.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045-4C99-9C3F-B3B986C3C124}"/>
                </c:ext>
              </c:extLst>
            </c:dLbl>
            <c:dLbl>
              <c:idx val="10"/>
              <c:tx>
                <c:rich>
                  <a:bodyPr/>
                  <a:lstStyle/>
                  <a:p>
                    <a:r>
                      <a:t>69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045-4C99-9C3F-B3B986C3C124}"/>
                </c:ext>
              </c:extLst>
            </c:dLbl>
            <c:dLbl>
              <c:idx val="11"/>
              <c:tx>
                <c:rich>
                  <a:bodyPr/>
                  <a:lstStyle/>
                  <a:p>
                    <a:r>
                      <a:t>1226.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045-4C99-9C3F-B3B986C3C124}"/>
                </c:ext>
              </c:extLst>
            </c:dLbl>
            <c:dLbl>
              <c:idx val="12"/>
              <c:tx>
                <c:rich>
                  <a:bodyPr/>
                  <a:lstStyle/>
                  <a:p>
                    <a:r>
                      <a:t>1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045-4C99-9C3F-B3B986C3C124}"/>
                </c:ext>
              </c:extLst>
            </c:dLbl>
            <c:dLbl>
              <c:idx val="13"/>
              <c:tx>
                <c:rich>
                  <a:bodyPr/>
                  <a:lstStyle/>
                  <a:p>
                    <a:r>
                      <a:t>100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045-4C99-9C3F-B3B986C3C124}"/>
                </c:ext>
              </c:extLst>
            </c:dLbl>
            <c:dLbl>
              <c:idx val="14"/>
              <c:tx>
                <c:rich>
                  <a:bodyPr/>
                  <a:lstStyle/>
                  <a:p>
                    <a:r>
                      <a:t>17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5045-4C99-9C3F-B3B986C3C124}"/>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5045-4C99-9C3F-B3B986C3C12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65.6965</c:v>
                </c:pt>
                <c:pt idx="1">
                  <c:v>1072.7637999999999</c:v>
                </c:pt>
                <c:pt idx="2">
                  <c:v>1379.461</c:v>
                </c:pt>
                <c:pt idx="3">
                  <c:v>1117.9839999999999</c:v>
                </c:pt>
                <c:pt idx="4">
                  <c:v>1479.3656000000001</c:v>
                </c:pt>
                <c:pt idx="5">
                  <c:v>1396.4237000000001</c:v>
                </c:pt>
                <c:pt idx="6">
                  <c:v>1874.4972</c:v>
                </c:pt>
                <c:pt idx="7">
                  <c:v>0</c:v>
                </c:pt>
                <c:pt idx="8">
                  <c:v>11640.683000000001</c:v>
                </c:pt>
                <c:pt idx="9">
                  <c:v>6429.0713999999998</c:v>
                </c:pt>
                <c:pt idx="10">
                  <c:v>699.10299999999995</c:v>
                </c:pt>
                <c:pt idx="11">
                  <c:v>1226.7301</c:v>
                </c:pt>
                <c:pt idx="12">
                  <c:v>1369.9003</c:v>
                </c:pt>
                <c:pt idx="13">
                  <c:v>1008.2</c:v>
                </c:pt>
                <c:pt idx="14">
                  <c:v>1774.965799999999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DAF9-4FF7-8698-B491F5ED543E}"/>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DAF9-4FF7-8698-B491F5ED543E}"/>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74.599999999999994</c:v>
                </c:pt>
                <c:pt idx="1">
                  <c:v>7.2</c:v>
                </c:pt>
                <c:pt idx="2">
                  <c:v>40.1</c:v>
                </c:pt>
                <c:pt idx="3">
                  <c:v>3.1</c:v>
                </c:pt>
                <c:pt idx="4">
                  <c:v>23.6</c:v>
                </c:pt>
                <c:pt idx="5">
                  <c:v>8.6</c:v>
                </c:pt>
                <c:pt idx="6">
                  <c:v>10.1</c:v>
                </c:pt>
                <c:pt idx="7">
                  <c:v>0</c:v>
                </c:pt>
                <c:pt idx="8">
                  <c:v>3.8</c:v>
                </c:pt>
                <c:pt idx="9">
                  <c:v>0.1</c:v>
                </c:pt>
                <c:pt idx="10">
                  <c:v>4.2</c:v>
                </c:pt>
                <c:pt idx="11">
                  <c:v>0</c:v>
                </c:pt>
                <c:pt idx="12">
                  <c:v>3.4</c:v>
                </c:pt>
                <c:pt idx="13">
                  <c:v>0.7</c:v>
                </c:pt>
                <c:pt idx="14">
                  <c:v>3.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8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5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DAF9-4FF7-8698-B491F5ED543E}"/>
                </c:ext>
              </c:extLst>
            </c:dLbl>
            <c:dLbl>
              <c:idx val="5"/>
              <c:tx>
                <c:rich>
                  <a:bodyPr/>
                  <a:lstStyle/>
                  <a:p>
                    <a:r>
                      <a:t>138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DAF9-4FF7-8698-B491F5ED543E}"/>
                </c:ext>
              </c:extLst>
            </c:dLbl>
            <c:dLbl>
              <c:idx val="6"/>
              <c:tx>
                <c:rich>
                  <a:bodyPr/>
                  <a:lstStyle/>
                  <a:p>
                    <a:r>
                      <a:t>16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DAF9-4FF7-8698-B491F5ED543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DAF9-4FF7-8698-B491F5ED543E}"/>
                </c:ext>
              </c:extLst>
            </c:dLbl>
            <c:dLbl>
              <c:idx val="8"/>
              <c:tx>
                <c:rich>
                  <a:bodyPr/>
                  <a:lstStyle/>
                  <a:p>
                    <a:r>
                      <a:t>1132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DAF9-4FF7-8698-B491F5ED543E}"/>
                </c:ext>
              </c:extLst>
            </c:dLbl>
            <c:dLbl>
              <c:idx val="9"/>
              <c:tx>
                <c:rich>
                  <a:bodyPr/>
                  <a:lstStyle/>
                  <a:p>
                    <a:r>
                      <a:t>6206.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DAF9-4FF7-8698-B491F5ED543E}"/>
                </c:ext>
              </c:extLst>
            </c:dLbl>
            <c:dLbl>
              <c:idx val="10"/>
              <c:tx>
                <c:rich>
                  <a:bodyPr/>
                  <a:lstStyle/>
                  <a:p>
                    <a:r>
                      <a:t>13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DAF9-4FF7-8698-B491F5ED543E}"/>
                </c:ext>
              </c:extLst>
            </c:dLbl>
            <c:dLbl>
              <c:idx val="11"/>
              <c:tx>
                <c:rich>
                  <a:bodyPr/>
                  <a:lstStyle/>
                  <a:p>
                    <a:r>
                      <a:t>64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DAF9-4FF7-8698-B491F5ED543E}"/>
                </c:ext>
              </c:extLst>
            </c:dLbl>
            <c:dLbl>
              <c:idx val="12"/>
              <c:tx>
                <c:rich>
                  <a:bodyPr/>
                  <a:lstStyle/>
                  <a:p>
                    <a:r>
                      <a:t>727.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DAF9-4FF7-8698-B491F5ED543E}"/>
                </c:ext>
              </c:extLst>
            </c:dLbl>
            <c:dLbl>
              <c:idx val="13"/>
              <c:tx>
                <c:rich>
                  <a:bodyPr/>
                  <a:lstStyle/>
                  <a:p>
                    <a:r>
                      <a:t>1102.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DAF9-4FF7-8698-B491F5ED543E}"/>
                </c:ext>
              </c:extLst>
            </c:dLbl>
            <c:dLbl>
              <c:idx val="14"/>
              <c:tx>
                <c:rich>
                  <a:bodyPr/>
                  <a:lstStyle/>
                  <a:p>
                    <a:r>
                      <a:t>18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DAF9-4FF7-8698-B491F5ED543E}"/>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DAF9-4FF7-8698-B491F5ED543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678.1269</c:v>
                </c:pt>
                <c:pt idx="1">
                  <c:v>1083.9166</c:v>
                </c:pt>
                <c:pt idx="2">
                  <c:v>1384.8006</c:v>
                </c:pt>
                <c:pt idx="3">
                  <c:v>1111.4974999999999</c:v>
                </c:pt>
                <c:pt idx="4">
                  <c:v>1451.2198000000001</c:v>
                </c:pt>
                <c:pt idx="5">
                  <c:v>1380.5201999999999</c:v>
                </c:pt>
                <c:pt idx="6">
                  <c:v>1658.9194</c:v>
                </c:pt>
                <c:pt idx="7">
                  <c:v>0</c:v>
                </c:pt>
                <c:pt idx="8">
                  <c:v>11328.655699999999</c:v>
                </c:pt>
                <c:pt idx="9">
                  <c:v>6206.0909000000001</c:v>
                </c:pt>
                <c:pt idx="10">
                  <c:v>1343.6047000000001</c:v>
                </c:pt>
                <c:pt idx="11">
                  <c:v>647.1</c:v>
                </c:pt>
                <c:pt idx="12">
                  <c:v>727.5068</c:v>
                </c:pt>
                <c:pt idx="13">
                  <c:v>1102.7679000000001</c:v>
                </c:pt>
                <c:pt idx="14">
                  <c:v>1811.101100000000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1985-4891-837D-1177F621F06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1985-4891-837D-1177F621F06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712.9</c:v>
                </c:pt>
                <c:pt idx="1">
                  <c:v>0</c:v>
                </c:pt>
                <c:pt idx="2">
                  <c:v>331.7</c:v>
                </c:pt>
                <c:pt idx="3">
                  <c:v>12.5</c:v>
                </c:pt>
                <c:pt idx="4">
                  <c:v>124.4</c:v>
                </c:pt>
                <c:pt idx="5">
                  <c:v>0</c:v>
                </c:pt>
                <c:pt idx="6">
                  <c:v>102.2</c:v>
                </c:pt>
                <c:pt idx="7">
                  <c:v>0</c:v>
                </c:pt>
                <c:pt idx="8">
                  <c:v>54.3</c:v>
                </c:pt>
                <c:pt idx="9">
                  <c:v>0</c:v>
                </c:pt>
                <c:pt idx="10">
                  <c:v>34.5</c:v>
                </c:pt>
                <c:pt idx="11">
                  <c:v>0</c:v>
                </c:pt>
                <c:pt idx="12">
                  <c:v>32.299999999999997</c:v>
                </c:pt>
                <c:pt idx="13">
                  <c:v>0</c:v>
                </c:pt>
                <c:pt idx="14">
                  <c:v>26.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40.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1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985-4891-837D-1177F621F06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985-4891-837D-1177F621F06C}"/>
                </c:ext>
              </c:extLst>
            </c:dLbl>
            <c:dLbl>
              <c:idx val="6"/>
              <c:tx>
                <c:rich>
                  <a:bodyPr/>
                  <a:lstStyle/>
                  <a:p>
                    <a:r>
                      <a:t>17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985-4891-837D-1177F621F06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985-4891-837D-1177F621F06C}"/>
                </c:ext>
              </c:extLst>
            </c:dLbl>
            <c:dLbl>
              <c:idx val="8"/>
              <c:tx>
                <c:rich>
                  <a:bodyPr/>
                  <a:lstStyle/>
                  <a:p>
                    <a:r>
                      <a:t>1074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985-4891-837D-1177F621F06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985-4891-837D-1177F621F06C}"/>
                </c:ext>
              </c:extLst>
            </c:dLbl>
            <c:dLbl>
              <c:idx val="10"/>
              <c:tx>
                <c:rich>
                  <a:bodyPr/>
                  <a:lstStyle/>
                  <a:p>
                    <a:r>
                      <a:t>696.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985-4891-837D-1177F621F06C}"/>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985-4891-837D-1177F621F06C}"/>
                </c:ext>
              </c:extLst>
            </c:dLbl>
            <c:dLbl>
              <c:idx val="12"/>
              <c:tx>
                <c:rich>
                  <a:bodyPr/>
                  <a:lstStyle/>
                  <a:p>
                    <a:r>
                      <a:t>131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985-4891-837D-1177F621F06C}"/>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985-4891-837D-1177F621F06C}"/>
                </c:ext>
              </c:extLst>
            </c:dLbl>
            <c:dLbl>
              <c:idx val="14"/>
              <c:tx>
                <c:rich>
                  <a:bodyPr/>
                  <a:lstStyle/>
                  <a:p>
                    <a:r>
                      <a:t>1694.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985-4891-837D-1177F621F06C}"/>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985-4891-837D-1177F621F06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740.6312</c:v>
                </c:pt>
                <c:pt idx="1">
                  <c:v>0</c:v>
                </c:pt>
                <c:pt idx="2">
                  <c:v>1363.8255999999999</c:v>
                </c:pt>
                <c:pt idx="3">
                  <c:v>4025.5318000000002</c:v>
                </c:pt>
                <c:pt idx="4">
                  <c:v>1412.9780000000001</c:v>
                </c:pt>
                <c:pt idx="5">
                  <c:v>0</c:v>
                </c:pt>
                <c:pt idx="6">
                  <c:v>1747.7023999999999</c:v>
                </c:pt>
                <c:pt idx="7">
                  <c:v>0</c:v>
                </c:pt>
                <c:pt idx="8">
                  <c:v>10745.716700000001</c:v>
                </c:pt>
                <c:pt idx="9">
                  <c:v>0</c:v>
                </c:pt>
                <c:pt idx="10">
                  <c:v>696.43989999999997</c:v>
                </c:pt>
                <c:pt idx="11">
                  <c:v>0</c:v>
                </c:pt>
                <c:pt idx="12">
                  <c:v>1315.2692</c:v>
                </c:pt>
                <c:pt idx="13">
                  <c:v>0</c:v>
                </c:pt>
                <c:pt idx="14">
                  <c:v>1694.594599999999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9591-4B2C-8C3A-B68326D6CA63}"/>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9591-4B2C-8C3A-B68326D6CA63}"/>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163</c:v>
                </c:pt>
                <c:pt idx="1">
                  <c:v>0</c:v>
                </c:pt>
                <c:pt idx="2">
                  <c:v>75.7</c:v>
                </c:pt>
                <c:pt idx="3">
                  <c:v>3</c:v>
                </c:pt>
                <c:pt idx="4">
                  <c:v>21.9</c:v>
                </c:pt>
                <c:pt idx="5">
                  <c:v>0</c:v>
                </c:pt>
                <c:pt idx="6">
                  <c:v>18.899999999999999</c:v>
                </c:pt>
                <c:pt idx="7">
                  <c:v>0</c:v>
                </c:pt>
                <c:pt idx="8">
                  <c:v>10.7</c:v>
                </c:pt>
                <c:pt idx="9">
                  <c:v>0</c:v>
                </c:pt>
                <c:pt idx="10">
                  <c:v>7.3</c:v>
                </c:pt>
                <c:pt idx="11">
                  <c:v>0</c:v>
                </c:pt>
                <c:pt idx="12">
                  <c:v>6.7</c:v>
                </c:pt>
                <c:pt idx="13">
                  <c:v>0</c:v>
                </c:pt>
                <c:pt idx="14">
                  <c:v>4.9000000000000004</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3.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591-4B2C-8C3A-B68326D6CA6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591-4B2C-8C3A-B68326D6CA63}"/>
                </c:ext>
              </c:extLst>
            </c:dLbl>
            <c:dLbl>
              <c:idx val="6"/>
              <c:tx>
                <c:rich>
                  <a:bodyPr/>
                  <a:lstStyle/>
                  <a:p>
                    <a:r>
                      <a:t>13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591-4B2C-8C3A-B68326D6CA6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591-4B2C-8C3A-B68326D6CA63}"/>
                </c:ext>
              </c:extLst>
            </c:dLbl>
            <c:dLbl>
              <c:idx val="8"/>
              <c:tx>
                <c:rich>
                  <a:bodyPr/>
                  <a:lstStyle/>
                  <a:p>
                    <a:r>
                      <a:t>10299.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9591-4B2C-8C3A-B68326D6CA6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591-4B2C-8C3A-B68326D6CA63}"/>
                </c:ext>
              </c:extLst>
            </c:dLbl>
            <c:dLbl>
              <c:idx val="10"/>
              <c:tx>
                <c:rich>
                  <a:bodyPr/>
                  <a:lstStyle/>
                  <a:p>
                    <a:r>
                      <a:t>130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9591-4B2C-8C3A-B68326D6CA63}"/>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591-4B2C-8C3A-B68326D6CA63}"/>
                </c:ext>
              </c:extLst>
            </c:dLbl>
            <c:dLbl>
              <c:idx val="12"/>
              <c:tx>
                <c:rich>
                  <a:bodyPr/>
                  <a:lstStyle/>
                  <a:p>
                    <a:r>
                      <a:t>667.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9591-4B2C-8C3A-B68326D6CA6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591-4B2C-8C3A-B68326D6CA63}"/>
                </c:ext>
              </c:extLst>
            </c:dLbl>
            <c:dLbl>
              <c:idx val="14"/>
              <c:tx>
                <c:rich>
                  <a:bodyPr/>
                  <a:lstStyle/>
                  <a:p>
                    <a:r>
                      <a:t>1722.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9591-4B2C-8C3A-B68326D6CA63}"/>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591-4B2C-8C3A-B68326D6CA6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787.0997</c:v>
                </c:pt>
                <c:pt idx="1">
                  <c:v>0</c:v>
                </c:pt>
                <c:pt idx="2">
                  <c:v>1382.5326</c:v>
                </c:pt>
                <c:pt idx="3">
                  <c:v>4341.9049999999997</c:v>
                </c:pt>
                <c:pt idx="4">
                  <c:v>1743.6278</c:v>
                </c:pt>
                <c:pt idx="5">
                  <c:v>0</c:v>
                </c:pt>
                <c:pt idx="6">
                  <c:v>1380.7983999999999</c:v>
                </c:pt>
                <c:pt idx="7">
                  <c:v>0</c:v>
                </c:pt>
                <c:pt idx="8">
                  <c:v>10299.2377</c:v>
                </c:pt>
                <c:pt idx="9">
                  <c:v>0</c:v>
                </c:pt>
                <c:pt idx="10">
                  <c:v>1301.4169999999999</c:v>
                </c:pt>
                <c:pt idx="11">
                  <c:v>0</c:v>
                </c:pt>
                <c:pt idx="12">
                  <c:v>667.12909999999999</c:v>
                </c:pt>
                <c:pt idx="13">
                  <c:v>0</c:v>
                </c:pt>
                <c:pt idx="14">
                  <c:v>1722.985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8875-450E-85A8-A74CBFC65172}"/>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8875-450E-85A8-A74CBFC65172}"/>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D$2:$D$15</c:f>
              <c:numCache>
                <c:formatCode>General</c:formatCode>
                <c:ptCount val="14"/>
                <c:pt idx="0">
                  <c:v>144.4</c:v>
                </c:pt>
                <c:pt idx="1">
                  <c:v>0</c:v>
                </c:pt>
                <c:pt idx="2">
                  <c:v>48</c:v>
                </c:pt>
                <c:pt idx="3">
                  <c:v>1.9</c:v>
                </c:pt>
                <c:pt idx="4">
                  <c:v>22.4</c:v>
                </c:pt>
                <c:pt idx="5">
                  <c:v>0</c:v>
                </c:pt>
                <c:pt idx="6">
                  <c:v>20.399999999999999</c:v>
                </c:pt>
                <c:pt idx="7">
                  <c:v>0</c:v>
                </c:pt>
                <c:pt idx="8">
                  <c:v>14.1</c:v>
                </c:pt>
                <c:pt idx="9">
                  <c:v>0</c:v>
                </c:pt>
                <c:pt idx="10">
                  <c:v>5.2</c:v>
                </c:pt>
                <c:pt idx="11">
                  <c:v>0</c:v>
                </c:pt>
                <c:pt idx="12">
                  <c:v>4.8</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1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170.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8875-450E-85A8-A74CBFC6517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875-450E-85A8-A74CBFC65172}"/>
                </c:ext>
              </c:extLst>
            </c:dLbl>
            <c:dLbl>
              <c:idx val="6"/>
              <c:tx>
                <c:rich>
                  <a:bodyPr/>
                  <a:lstStyle/>
                  <a:p>
                    <a:r>
                      <a:t>1059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8875-450E-85A8-A74CBFC6517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875-450E-85A8-A74CBFC65172}"/>
                </c:ext>
              </c:extLst>
            </c:dLbl>
            <c:dLbl>
              <c:idx val="8"/>
              <c:tx>
                <c:rich>
                  <a:bodyPr/>
                  <a:lstStyle/>
                  <a:p>
                    <a:r>
                      <a:t>1425.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8875-450E-85A8-A74CBFC6517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875-450E-85A8-A74CBFC65172}"/>
                </c:ext>
              </c:extLst>
            </c:dLbl>
            <c:dLbl>
              <c:idx val="10"/>
              <c:tx>
                <c:rich>
                  <a:bodyPr/>
                  <a:lstStyle/>
                  <a:p>
                    <a:r>
                      <a:t>717.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8875-450E-85A8-A74CBFC65172}"/>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875-450E-85A8-A74CBFC65172}"/>
                </c:ext>
              </c:extLst>
            </c:dLbl>
            <c:dLbl>
              <c:idx val="12"/>
              <c:tx>
                <c:rich>
                  <a:bodyPr/>
                  <a:lstStyle/>
                  <a:p>
                    <a:r>
                      <a:t>140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8875-450E-85A8-A74CBFC65172}"/>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875-450E-85A8-A74CBFC6517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E$2:$E$15</c:f>
              <c:numCache>
                <c:formatCode>General</c:formatCode>
                <c:ptCount val="14"/>
                <c:pt idx="0">
                  <c:v>2212.3442</c:v>
                </c:pt>
                <c:pt idx="1">
                  <c:v>0</c:v>
                </c:pt>
                <c:pt idx="2">
                  <c:v>1375.4544000000001</c:v>
                </c:pt>
                <c:pt idx="3">
                  <c:v>4279.4597999999996</c:v>
                </c:pt>
                <c:pt idx="4">
                  <c:v>2170.7797999999998</c:v>
                </c:pt>
                <c:pt idx="5">
                  <c:v>0</c:v>
                </c:pt>
                <c:pt idx="6">
                  <c:v>10595.319600000001</c:v>
                </c:pt>
                <c:pt idx="7">
                  <c:v>0</c:v>
                </c:pt>
                <c:pt idx="8">
                  <c:v>1425.3298</c:v>
                </c:pt>
                <c:pt idx="9">
                  <c:v>0</c:v>
                </c:pt>
                <c:pt idx="10">
                  <c:v>717.40989999999999</c:v>
                </c:pt>
                <c:pt idx="11">
                  <c:v>0</c:v>
                </c:pt>
                <c:pt idx="12">
                  <c:v>1401.0145</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4419-45C1-A138-E23297D9518A}"/>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4419-45C1-A138-E23297D9518A}"/>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D$2:$D$17</c:f>
              <c:numCache>
                <c:formatCode>General</c:formatCode>
                <c:ptCount val="16"/>
                <c:pt idx="0">
                  <c:v>5.4</c:v>
                </c:pt>
                <c:pt idx="1">
                  <c:v>0</c:v>
                </c:pt>
                <c:pt idx="2">
                  <c:v>103.1</c:v>
                </c:pt>
                <c:pt idx="3">
                  <c:v>0</c:v>
                </c:pt>
                <c:pt idx="4">
                  <c:v>61.9</c:v>
                </c:pt>
                <c:pt idx="5">
                  <c:v>2.2000000000000002</c:v>
                </c:pt>
                <c:pt idx="6">
                  <c:v>29.5</c:v>
                </c:pt>
                <c:pt idx="7">
                  <c:v>0</c:v>
                </c:pt>
                <c:pt idx="8">
                  <c:v>15.9</c:v>
                </c:pt>
                <c:pt idx="9">
                  <c:v>0</c:v>
                </c:pt>
                <c:pt idx="10">
                  <c:v>7.2</c:v>
                </c:pt>
                <c:pt idx="11">
                  <c:v>0</c:v>
                </c:pt>
                <c:pt idx="12">
                  <c:v>6.2</c:v>
                </c:pt>
                <c:pt idx="13">
                  <c:v>0</c:v>
                </c:pt>
                <c:pt idx="14">
                  <c:v>5.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4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0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4419-45C1-A138-E23297D9518A}"/>
                </c:ext>
              </c:extLst>
            </c:dLbl>
            <c:dLbl>
              <c:idx val="5"/>
              <c:tx>
                <c:rich>
                  <a:bodyPr/>
                  <a:lstStyle/>
                  <a:p>
                    <a:r>
                      <a:t>310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4419-45C1-A138-E23297D9518A}"/>
                </c:ext>
              </c:extLst>
            </c:dLbl>
            <c:dLbl>
              <c:idx val="6"/>
              <c:tx>
                <c:rich>
                  <a:bodyPr/>
                  <a:lstStyle/>
                  <a:p>
                    <a:r>
                      <a:t>136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4419-45C1-A138-E23297D9518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4419-45C1-A138-E23297D9518A}"/>
                </c:ext>
              </c:extLst>
            </c:dLbl>
            <c:dLbl>
              <c:idx val="8"/>
              <c:tx>
                <c:rich>
                  <a:bodyPr/>
                  <a:lstStyle/>
                  <a:p>
                    <a:r>
                      <a:t>1360.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4419-45C1-A138-E23297D9518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4419-45C1-A138-E23297D9518A}"/>
                </c:ext>
              </c:extLst>
            </c:dLbl>
            <c:dLbl>
              <c:idx val="10"/>
              <c:tx>
                <c:rich>
                  <a:bodyPr/>
                  <a:lstStyle/>
                  <a:p>
                    <a:r>
                      <a:t>70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4419-45C1-A138-E23297D9518A}"/>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4419-45C1-A138-E23297D9518A}"/>
                </c:ext>
              </c:extLst>
            </c:dLbl>
            <c:dLbl>
              <c:idx val="12"/>
              <c:tx>
                <c:rich>
                  <a:bodyPr/>
                  <a:lstStyle/>
                  <a:p>
                    <a:r>
                      <a:t>156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4419-45C1-A138-E23297D9518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4419-45C1-A138-E23297D9518A}"/>
                </c:ext>
              </c:extLst>
            </c:dLbl>
            <c:dLbl>
              <c:idx val="14"/>
              <c:tx>
                <c:rich>
                  <a:bodyPr/>
                  <a:lstStyle/>
                  <a:p>
                    <a:r>
                      <a:t>121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4419-45C1-A138-E23297D9518A}"/>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4419-45C1-A138-E23297D9518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E$2:$E$17</c:f>
              <c:numCache>
                <c:formatCode>General</c:formatCode>
                <c:ptCount val="16"/>
                <c:pt idx="0">
                  <c:v>571.51649999999995</c:v>
                </c:pt>
                <c:pt idx="1">
                  <c:v>0</c:v>
                </c:pt>
                <c:pt idx="2">
                  <c:v>1439.95</c:v>
                </c:pt>
                <c:pt idx="3">
                  <c:v>0</c:v>
                </c:pt>
                <c:pt idx="4">
                  <c:v>1309.0880999999999</c:v>
                </c:pt>
                <c:pt idx="5">
                  <c:v>3103.4389000000001</c:v>
                </c:pt>
                <c:pt idx="6">
                  <c:v>1364.7523000000001</c:v>
                </c:pt>
                <c:pt idx="7">
                  <c:v>0</c:v>
                </c:pt>
                <c:pt idx="8">
                  <c:v>1360.6511</c:v>
                </c:pt>
                <c:pt idx="9">
                  <c:v>0</c:v>
                </c:pt>
                <c:pt idx="10">
                  <c:v>706.37810000000002</c:v>
                </c:pt>
                <c:pt idx="11">
                  <c:v>0</c:v>
                </c:pt>
                <c:pt idx="12">
                  <c:v>1565.1661999999999</c:v>
                </c:pt>
                <c:pt idx="13">
                  <c:v>0</c:v>
                </c:pt>
                <c:pt idx="14">
                  <c:v>1215.409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6913-4C79-89B3-9F688537BF32}"/>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6913-4C79-89B3-9F688537BF32}"/>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18.4</c:v>
                </c:pt>
                <c:pt idx="1">
                  <c:v>0</c:v>
                </c:pt>
                <c:pt idx="2">
                  <c:v>55.1</c:v>
                </c:pt>
                <c:pt idx="3">
                  <c:v>1.8</c:v>
                </c:pt>
                <c:pt idx="4">
                  <c:v>17.899999999999999</c:v>
                </c:pt>
                <c:pt idx="5">
                  <c:v>0</c:v>
                </c:pt>
                <c:pt idx="6">
                  <c:v>15.6</c:v>
                </c:pt>
                <c:pt idx="7">
                  <c:v>0</c:v>
                </c:pt>
                <c:pt idx="8">
                  <c:v>8.6</c:v>
                </c:pt>
                <c:pt idx="9">
                  <c:v>0</c:v>
                </c:pt>
                <c:pt idx="10">
                  <c:v>6.1</c:v>
                </c:pt>
                <c:pt idx="11">
                  <c:v>0</c:v>
                </c:pt>
                <c:pt idx="12">
                  <c:v>6</c:v>
                </c:pt>
                <c:pt idx="13">
                  <c:v>0</c:v>
                </c:pt>
                <c:pt idx="14">
                  <c:v>4.5999999999999996</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2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913-4C79-89B3-9F688537BF3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6913-4C79-89B3-9F688537BF32}"/>
                </c:ext>
              </c:extLst>
            </c:dLbl>
            <c:dLbl>
              <c:idx val="6"/>
              <c:tx>
                <c:rich>
                  <a:bodyPr/>
                  <a:lstStyle/>
                  <a:p>
                    <a:r>
                      <a:t>1388.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6913-4C79-89B3-9F688537BF3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6913-4C79-89B3-9F688537BF32}"/>
                </c:ext>
              </c:extLst>
            </c:dLbl>
            <c:dLbl>
              <c:idx val="8"/>
              <c:tx>
                <c:rich>
                  <a:bodyPr/>
                  <a:lstStyle/>
                  <a:p>
                    <a:r>
                      <a:t>1159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6913-4C79-89B3-9F688537BF3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6913-4C79-89B3-9F688537BF32}"/>
                </c:ext>
              </c:extLst>
            </c:dLbl>
            <c:dLbl>
              <c:idx val="10"/>
              <c:tx>
                <c:rich>
                  <a:bodyPr/>
                  <a:lstStyle/>
                  <a:p>
                    <a:r>
                      <a:t>68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6913-4C79-89B3-9F688537BF32}"/>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6913-4C79-89B3-9F688537BF32}"/>
                </c:ext>
              </c:extLst>
            </c:dLbl>
            <c:dLbl>
              <c:idx val="12"/>
              <c:tx>
                <c:rich>
                  <a:bodyPr/>
                  <a:lstStyle/>
                  <a:p>
                    <a:r>
                      <a:t>1303.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6913-4C79-89B3-9F688537BF32}"/>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6913-4C79-89B3-9F688537BF32}"/>
                </c:ext>
              </c:extLst>
            </c:dLbl>
            <c:dLbl>
              <c:idx val="14"/>
              <c:tx>
                <c:rich>
                  <a:bodyPr/>
                  <a:lstStyle/>
                  <a:p>
                    <a:r>
                      <a:t>169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6913-4C79-89B3-9F688537BF32}"/>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6913-4C79-89B3-9F688537BF3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59.42</c:v>
                </c:pt>
                <c:pt idx="1">
                  <c:v>0</c:v>
                </c:pt>
                <c:pt idx="2">
                  <c:v>1363.1175000000001</c:v>
                </c:pt>
                <c:pt idx="3">
                  <c:v>4233.1399000000001</c:v>
                </c:pt>
                <c:pt idx="4">
                  <c:v>1729.4639</c:v>
                </c:pt>
                <c:pt idx="5">
                  <c:v>0</c:v>
                </c:pt>
                <c:pt idx="6">
                  <c:v>1388.0657000000001</c:v>
                </c:pt>
                <c:pt idx="7">
                  <c:v>0</c:v>
                </c:pt>
                <c:pt idx="8">
                  <c:v>11592.531199999999</c:v>
                </c:pt>
                <c:pt idx="9">
                  <c:v>0</c:v>
                </c:pt>
                <c:pt idx="10">
                  <c:v>682.4479</c:v>
                </c:pt>
                <c:pt idx="11">
                  <c:v>0</c:v>
                </c:pt>
                <c:pt idx="12">
                  <c:v>1303.1286</c:v>
                </c:pt>
                <c:pt idx="13">
                  <c:v>0</c:v>
                </c:pt>
                <c:pt idx="14">
                  <c:v>1696.9402</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EF9-42A1-87B3-1A0EDA703073}"/>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FEF9-42A1-87B3-1A0EDA703073}"/>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09.4</c:v>
                </c:pt>
                <c:pt idx="1">
                  <c:v>0</c:v>
                </c:pt>
                <c:pt idx="2">
                  <c:v>50.9</c:v>
                </c:pt>
                <c:pt idx="3">
                  <c:v>2</c:v>
                </c:pt>
                <c:pt idx="4">
                  <c:v>22.7</c:v>
                </c:pt>
                <c:pt idx="5">
                  <c:v>0</c:v>
                </c:pt>
                <c:pt idx="6">
                  <c:v>13.9</c:v>
                </c:pt>
                <c:pt idx="7">
                  <c:v>0</c:v>
                </c:pt>
                <c:pt idx="8">
                  <c:v>7.9</c:v>
                </c:pt>
                <c:pt idx="9">
                  <c:v>0</c:v>
                </c:pt>
                <c:pt idx="10">
                  <c:v>5.9</c:v>
                </c:pt>
                <c:pt idx="11">
                  <c:v>0</c:v>
                </c:pt>
                <c:pt idx="12">
                  <c:v>4.7</c:v>
                </c:pt>
                <c:pt idx="13">
                  <c:v>0</c:v>
                </c:pt>
                <c:pt idx="14">
                  <c:v>3.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7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EF9-42A1-87B3-1A0EDA70307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EF9-42A1-87B3-1A0EDA703073}"/>
                </c:ext>
              </c:extLst>
            </c:dLbl>
            <c:dLbl>
              <c:idx val="6"/>
              <c:tx>
                <c:rich>
                  <a:bodyPr/>
                  <a:lstStyle/>
                  <a:p>
                    <a:r>
                      <a:t>187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EF9-42A1-87B3-1A0EDA70307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EF9-42A1-87B3-1A0EDA703073}"/>
                </c:ext>
              </c:extLst>
            </c:dLbl>
            <c:dLbl>
              <c:idx val="8"/>
              <c:tx>
                <c:rich>
                  <a:bodyPr/>
                  <a:lstStyle/>
                  <a:p>
                    <a:r>
                      <a:t>1164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EF9-42A1-87B3-1A0EDA70307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EF9-42A1-87B3-1A0EDA703073}"/>
                </c:ext>
              </c:extLst>
            </c:dLbl>
            <c:dLbl>
              <c:idx val="10"/>
              <c:tx>
                <c:rich>
                  <a:bodyPr/>
                  <a:lstStyle/>
                  <a:p>
                    <a:r>
                      <a:t>69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EF9-42A1-87B3-1A0EDA703073}"/>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EF9-42A1-87B3-1A0EDA703073}"/>
                </c:ext>
              </c:extLst>
            </c:dLbl>
            <c:dLbl>
              <c:idx val="12"/>
              <c:tx>
                <c:rich>
                  <a:bodyPr/>
                  <a:lstStyle/>
                  <a:p>
                    <a:r>
                      <a:t>1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EF9-42A1-87B3-1A0EDA70307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EF9-42A1-87B3-1A0EDA703073}"/>
                </c:ext>
              </c:extLst>
            </c:dLbl>
            <c:dLbl>
              <c:idx val="14"/>
              <c:tx>
                <c:rich>
                  <a:bodyPr/>
                  <a:lstStyle/>
                  <a:p>
                    <a:r>
                      <a:t>17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EF9-42A1-87B3-1A0EDA703073}"/>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EF9-42A1-87B3-1A0EDA70307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65.6965</c:v>
                </c:pt>
                <c:pt idx="1">
                  <c:v>0</c:v>
                </c:pt>
                <c:pt idx="2">
                  <c:v>1379.461</c:v>
                </c:pt>
                <c:pt idx="3">
                  <c:v>4326.9489999999996</c:v>
                </c:pt>
                <c:pt idx="4">
                  <c:v>1479.3656000000001</c:v>
                </c:pt>
                <c:pt idx="5">
                  <c:v>0</c:v>
                </c:pt>
                <c:pt idx="6">
                  <c:v>1874.4972</c:v>
                </c:pt>
                <c:pt idx="7">
                  <c:v>0</c:v>
                </c:pt>
                <c:pt idx="8">
                  <c:v>11640.683000000001</c:v>
                </c:pt>
                <c:pt idx="9">
                  <c:v>0</c:v>
                </c:pt>
                <c:pt idx="10">
                  <c:v>699.10299999999995</c:v>
                </c:pt>
                <c:pt idx="11">
                  <c:v>0</c:v>
                </c:pt>
                <c:pt idx="12">
                  <c:v>1369.9003</c:v>
                </c:pt>
                <c:pt idx="13">
                  <c:v>0</c:v>
                </c:pt>
                <c:pt idx="14">
                  <c:v>1774.965799999999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95C191-5405-4EC0-93B0-B17020ED8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C11F94-70C9-41D2-85CC-B0CB55961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BA42FF-F633-4AEA-9634-70D18D16A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7F4A08-DB2A-4794-942F-151C8D7F4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5DDC42-A272-4342-8A24-4DCA03169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A5445B-BF87-48A1-A7D1-C07CAA860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1ACCDD-8FE5-431A-AC3A-BC90A812F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D542B2-D6EB-442C-BF1A-9883A567C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49</c:v>
                </c:pt>
                <c:pt idx="1">
                  <c:v>551.78729999999996</c:v>
                </c:pt>
                <c:pt idx="2">
                  <c:v>195.22649999999999</c:v>
                </c:pt>
                <c:pt idx="3">
                  <c:v>196.30840000000001</c:v>
                </c:pt>
                <c:pt idx="4">
                  <c:v>544.46720000000005</c:v>
                </c:pt>
                <c:pt idx="5">
                  <c:v>293.06799999999998</c:v>
                </c:pt>
                <c:pt idx="6">
                  <c:v>574.80970000000002</c:v>
                </c:pt>
                <c:pt idx="7">
                  <c:v>220.01349999999999</c:v>
                </c:pt>
              </c:numCache>
            </c:numRef>
          </c:xVal>
          <c:yVal>
            <c:numRef>
              <c:f>Sheet1!$B$2:$B$9</c:f>
              <c:numCache>
                <c:formatCode>General</c:formatCode>
                <c:ptCount val="8"/>
                <c:pt idx="0">
                  <c:v>0.86899999999999999</c:v>
                </c:pt>
                <c:pt idx="1">
                  <c:v>3.2410000000000001</c:v>
                </c:pt>
                <c:pt idx="2">
                  <c:v>0.56299999999999994</c:v>
                </c:pt>
                <c:pt idx="3">
                  <c:v>0.56000000000000005</c:v>
                </c:pt>
                <c:pt idx="4">
                  <c:v>4.4269999999999996</c:v>
                </c:pt>
                <c:pt idx="5">
                  <c:v>1.5860000000000001</c:v>
                </c:pt>
                <c:pt idx="6">
                  <c:v>3.9670000000000001</c:v>
                </c:pt>
                <c:pt idx="7">
                  <c:v>2.0449999999999999</c:v>
                </c:pt>
              </c:numCache>
            </c:numRef>
          </c:yVal>
          <c:bubbleSize>
            <c:numRef>
              <c:f>Sheet1!$C$2:$C$9</c:f>
              <c:numCache>
                <c:formatCode>General</c:formatCode>
                <c:ptCount val="8"/>
                <c:pt idx="0">
                  <c:v>68580640</c:v>
                </c:pt>
                <c:pt idx="1">
                  <c:v>37358209</c:v>
                </c:pt>
                <c:pt idx="2">
                  <c:v>32245369</c:v>
                </c:pt>
                <c:pt idx="3">
                  <c:v>24731918</c:v>
                </c:pt>
                <c:pt idx="4">
                  <c:v>19616609</c:v>
                </c:pt>
                <c:pt idx="5">
                  <c:v>19334577</c:v>
                </c:pt>
                <c:pt idx="6">
                  <c:v>12419913</c:v>
                </c:pt>
                <c:pt idx="7">
                  <c:v>191719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Banana Boat</c:v>
                  </c:pt>
                  <c:pt idx="4">
                    <c:v>La Roche-Posay</c:v>
                  </c:pt>
                  <c:pt idx="5">
                    <c:v>Neutrogena</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5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27DD-43C8-97B4-201C9DF7CDA3}"/>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27DD-43C8-97B4-201C9DF7CDA3}"/>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74.599999999999994</c:v>
                </c:pt>
                <c:pt idx="1">
                  <c:v>0</c:v>
                </c:pt>
                <c:pt idx="2">
                  <c:v>40.1</c:v>
                </c:pt>
                <c:pt idx="3">
                  <c:v>1.5</c:v>
                </c:pt>
                <c:pt idx="4">
                  <c:v>23.6</c:v>
                </c:pt>
                <c:pt idx="5">
                  <c:v>0</c:v>
                </c:pt>
                <c:pt idx="6">
                  <c:v>10.1</c:v>
                </c:pt>
                <c:pt idx="7">
                  <c:v>0</c:v>
                </c:pt>
                <c:pt idx="8">
                  <c:v>3.8</c:v>
                </c:pt>
                <c:pt idx="9">
                  <c:v>0</c:v>
                </c:pt>
                <c:pt idx="10">
                  <c:v>4.2</c:v>
                </c:pt>
                <c:pt idx="11">
                  <c:v>0</c:v>
                </c:pt>
                <c:pt idx="12">
                  <c:v>3.4</c:v>
                </c:pt>
                <c:pt idx="13">
                  <c:v>0</c:v>
                </c:pt>
                <c:pt idx="14">
                  <c:v>3.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5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7DD-43C8-97B4-201C9DF7CDA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7DD-43C8-97B4-201C9DF7CDA3}"/>
                </c:ext>
              </c:extLst>
            </c:dLbl>
            <c:dLbl>
              <c:idx val="6"/>
              <c:tx>
                <c:rich>
                  <a:bodyPr/>
                  <a:lstStyle/>
                  <a:p>
                    <a:r>
                      <a:t>16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7DD-43C8-97B4-201C9DF7CDA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7DD-43C8-97B4-201C9DF7CDA3}"/>
                </c:ext>
              </c:extLst>
            </c:dLbl>
            <c:dLbl>
              <c:idx val="8"/>
              <c:tx>
                <c:rich>
                  <a:bodyPr/>
                  <a:lstStyle/>
                  <a:p>
                    <a:r>
                      <a:t>1132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7DD-43C8-97B4-201C9DF7CDA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7DD-43C8-97B4-201C9DF7CDA3}"/>
                </c:ext>
              </c:extLst>
            </c:dLbl>
            <c:dLbl>
              <c:idx val="10"/>
              <c:tx>
                <c:rich>
                  <a:bodyPr/>
                  <a:lstStyle/>
                  <a:p>
                    <a:r>
                      <a:t>13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7DD-43C8-97B4-201C9DF7CDA3}"/>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7DD-43C8-97B4-201C9DF7CDA3}"/>
                </c:ext>
              </c:extLst>
            </c:dLbl>
            <c:dLbl>
              <c:idx val="12"/>
              <c:tx>
                <c:rich>
                  <a:bodyPr/>
                  <a:lstStyle/>
                  <a:p>
                    <a:r>
                      <a:t>727.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7DD-43C8-97B4-201C9DF7CDA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7DD-43C8-97B4-201C9DF7CDA3}"/>
                </c:ext>
              </c:extLst>
            </c:dLbl>
            <c:dLbl>
              <c:idx val="14"/>
              <c:tx>
                <c:rich>
                  <a:bodyPr/>
                  <a:lstStyle/>
                  <a:p>
                    <a:r>
                      <a:t>18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7DD-43C8-97B4-201C9DF7CDA3}"/>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7DD-43C8-97B4-201C9DF7CDA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678.1269</c:v>
                </c:pt>
                <c:pt idx="1">
                  <c:v>0</c:v>
                </c:pt>
                <c:pt idx="2">
                  <c:v>1384.8006</c:v>
                </c:pt>
                <c:pt idx="3">
                  <c:v>4326.4348</c:v>
                </c:pt>
                <c:pt idx="4">
                  <c:v>1451.2198000000001</c:v>
                </c:pt>
                <c:pt idx="5">
                  <c:v>0</c:v>
                </c:pt>
                <c:pt idx="6">
                  <c:v>1658.9194</c:v>
                </c:pt>
                <c:pt idx="7">
                  <c:v>0</c:v>
                </c:pt>
                <c:pt idx="8">
                  <c:v>11328.655699999999</c:v>
                </c:pt>
                <c:pt idx="9">
                  <c:v>0</c:v>
                </c:pt>
                <c:pt idx="10">
                  <c:v>1343.6047000000001</c:v>
                </c:pt>
                <c:pt idx="11">
                  <c:v>0</c:v>
                </c:pt>
                <c:pt idx="12">
                  <c:v>727.5068</c:v>
                </c:pt>
                <c:pt idx="13">
                  <c:v>0</c:v>
                </c:pt>
                <c:pt idx="14">
                  <c:v>1811.101100000000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36B-4F5C-BA1F-C7ED70EBBF3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246.5</c:v>
                </c:pt>
                <c:pt idx="2">
                  <c:v>32.5</c:v>
                </c:pt>
                <c:pt idx="3">
                  <c:v>13.3</c:v>
                </c:pt>
                <c:pt idx="4">
                  <c:v>25</c:v>
                </c:pt>
                <c:pt idx="5">
                  <c:v>9.3000000000000007</c:v>
                </c:pt>
                <c:pt idx="6">
                  <c:v>18.89999999999999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236B-4F5C-BA1F-C7ED70EBBF3A}"/>
                </c:ext>
              </c:extLst>
            </c:dLbl>
            <c:dLbl>
              <c:idx val="1"/>
              <c:tx>
                <c:rich>
                  <a:bodyPr/>
                  <a:lstStyle/>
                  <a:p>
                    <a:r>
                      <a:t>1210.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236B-4F5C-BA1F-C7ED70EBBF3A}"/>
                </c:ext>
              </c:extLst>
            </c:dLbl>
            <c:dLbl>
              <c:idx val="2"/>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36B-4F5C-BA1F-C7ED70EBBF3A}"/>
                </c:ext>
              </c:extLst>
            </c:dLbl>
            <c:dLbl>
              <c:idx val="3"/>
              <c:tx>
                <c:rich>
                  <a:bodyPr/>
                  <a:lstStyle/>
                  <a:p>
                    <a:r>
                      <a:t>11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36B-4F5C-BA1F-C7ED70EBBF3A}"/>
                </c:ext>
              </c:extLst>
            </c:dLbl>
            <c:dLbl>
              <c:idx val="4"/>
              <c:tx>
                <c:rich>
                  <a:bodyPr/>
                  <a:lstStyle/>
                  <a:p>
                    <a:r>
                      <a:t>57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36B-4F5C-BA1F-C7ED70EBBF3A}"/>
                </c:ext>
              </c:extLst>
            </c:dLbl>
            <c:dLbl>
              <c:idx val="5"/>
              <c:tx>
                <c:rich>
                  <a:bodyPr/>
                  <a:lstStyle/>
                  <a:p>
                    <a:r>
                      <a:t>6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36B-4F5C-BA1F-C7ED70EBBF3A}"/>
                </c:ext>
              </c:extLst>
            </c:dLbl>
            <c:dLbl>
              <c:idx val="6"/>
              <c:tx>
                <c:rich>
                  <a:bodyPr/>
                  <a:lstStyle/>
                  <a:p>
                    <a:r>
                      <a:t>496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36B-4F5C-BA1F-C7ED70EBBF3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36B-4F5C-BA1F-C7ED70EBBF3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D$2:$D$9</c:f>
              <c:numCache>
                <c:formatCode>General</c:formatCode>
                <c:ptCount val="8"/>
                <c:pt idx="0">
                  <c:v>1619.4178999999999</c:v>
                </c:pt>
                <c:pt idx="1">
                  <c:v>1210.8336999999999</c:v>
                </c:pt>
                <c:pt idx="2">
                  <c:v>1116.2927</c:v>
                </c:pt>
                <c:pt idx="3">
                  <c:v>1122.9222</c:v>
                </c:pt>
                <c:pt idx="4">
                  <c:v>577.77239999999995</c:v>
                </c:pt>
                <c:pt idx="5">
                  <c:v>675.81579999999997</c:v>
                </c:pt>
                <c:pt idx="6">
                  <c:v>4966.2389999999996</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AB6-4EDC-8B19-E94E8860B12E}"/>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C$2:$C$7</c:f>
              <c:numCache>
                <c:formatCode>General</c:formatCode>
                <c:ptCount val="6"/>
                <c:pt idx="0">
                  <c:v>338.2</c:v>
                </c:pt>
                <c:pt idx="1">
                  <c:v>54.3</c:v>
                </c:pt>
                <c:pt idx="2">
                  <c:v>5.9</c:v>
                </c:pt>
                <c:pt idx="3">
                  <c:v>2.2999999999999998</c:v>
                </c:pt>
                <c:pt idx="4">
                  <c:v>4.5</c:v>
                </c:pt>
                <c:pt idx="5">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4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AB6-4EDC-8B19-E94E8860B12E}"/>
                </c:ext>
              </c:extLst>
            </c:dLbl>
            <c:dLbl>
              <c:idx val="1"/>
              <c:tx>
                <c:rich>
                  <a:bodyPr/>
                  <a:lstStyle/>
                  <a:p>
                    <a:r>
                      <a:t>1216.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AB6-4EDC-8B19-E94E8860B12E}"/>
                </c:ext>
              </c:extLst>
            </c:dLbl>
            <c:dLbl>
              <c:idx val="2"/>
              <c:tx>
                <c:rich>
                  <a:bodyPr/>
                  <a:lstStyle/>
                  <a:p>
                    <a:r>
                      <a:t>107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AB6-4EDC-8B19-E94E8860B12E}"/>
                </c:ext>
              </c:extLst>
            </c:dLbl>
            <c:dLbl>
              <c:idx val="3"/>
              <c:tx>
                <c:rich>
                  <a:bodyPr/>
                  <a:lstStyle/>
                  <a:p>
                    <a:r>
                      <a:t>1162.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AB6-4EDC-8B19-E94E8860B12E}"/>
                </c:ext>
              </c:extLst>
            </c:dLbl>
            <c:dLbl>
              <c:idx val="4"/>
              <c:tx>
                <c:rich>
                  <a:bodyPr/>
                  <a:lstStyle/>
                  <a:p>
                    <a:r>
                      <a:t>545.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AB6-4EDC-8B19-E94E8860B12E}"/>
                </c:ext>
              </c:extLst>
            </c:dLbl>
            <c:dLbl>
              <c:idx val="5"/>
              <c:tx>
                <c:rich>
                  <a:bodyPr/>
                  <a:lstStyle/>
                  <a:p>
                    <a:r>
                      <a:t>71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AB6-4EDC-8B19-E94E8860B12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D$2:$D$7</c:f>
              <c:numCache>
                <c:formatCode>General</c:formatCode>
                <c:ptCount val="6"/>
                <c:pt idx="0">
                  <c:v>1648.4514999999999</c:v>
                </c:pt>
                <c:pt idx="1">
                  <c:v>1216.6914999999999</c:v>
                </c:pt>
                <c:pt idx="2">
                  <c:v>1077.7547999999999</c:v>
                </c:pt>
                <c:pt idx="3">
                  <c:v>1162.1727000000001</c:v>
                </c:pt>
                <c:pt idx="4">
                  <c:v>545.77909999999997</c:v>
                </c:pt>
                <c:pt idx="5">
                  <c:v>716.04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572F-4990-B843-5A471F4E7AE5}"/>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Banded Pack</c:v>
                  </c:pt>
                  <c:pt idx="4">
                    <c:v>Tanning</c:v>
                  </c:pt>
                </c:lvl>
              </c:multiLvlStrCache>
            </c:multiLvlStrRef>
          </c:cat>
          <c:val>
            <c:numRef>
              <c:f>Sheet1!$C$2:$C$7</c:f>
              <c:numCache>
                <c:formatCode>General</c:formatCode>
                <c:ptCount val="6"/>
                <c:pt idx="0">
                  <c:v>292.8</c:v>
                </c:pt>
                <c:pt idx="1">
                  <c:v>32.299999999999997</c:v>
                </c:pt>
                <c:pt idx="2">
                  <c:v>11.8</c:v>
                </c:pt>
                <c:pt idx="3">
                  <c:v>0</c:v>
                </c:pt>
                <c:pt idx="4">
                  <c:v>3.1</c:v>
                </c:pt>
                <c:pt idx="5">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980.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72F-4990-B843-5A471F4E7AE5}"/>
                </c:ext>
              </c:extLst>
            </c:dLbl>
            <c:dLbl>
              <c:idx val="1"/>
              <c:tx>
                <c:rich>
                  <a:bodyPr/>
                  <a:lstStyle/>
                  <a:p>
                    <a:r>
                      <a:t>117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72F-4990-B843-5A471F4E7AE5}"/>
                </c:ext>
              </c:extLst>
            </c:dLbl>
            <c:dLbl>
              <c:idx val="2"/>
              <c:tx>
                <c:rich>
                  <a:bodyPr/>
                  <a:lstStyle/>
                  <a:p>
                    <a:r>
                      <a:t>536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72F-4990-B843-5A471F4E7AE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72F-4990-B843-5A471F4E7AE5}"/>
                </c:ext>
              </c:extLst>
            </c:dLbl>
            <c:dLbl>
              <c:idx val="4"/>
              <c:tx>
                <c:rich>
                  <a:bodyPr/>
                  <a:lstStyle/>
                  <a:p>
                    <a:r>
                      <a:t>1055.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72F-4990-B843-5A471F4E7AE5}"/>
                </c:ext>
              </c:extLst>
            </c:dLbl>
            <c:dLbl>
              <c:idx val="5"/>
              <c:tx>
                <c:rich>
                  <a:bodyPr/>
                  <a:lstStyle/>
                  <a:p>
                    <a:r>
                      <a:t>1010.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72F-4990-B843-5A471F4E7AE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Banded Pack</c:v>
                  </c:pt>
                  <c:pt idx="4">
                    <c:v>Tanning</c:v>
                  </c:pt>
                </c:lvl>
              </c:multiLvlStrCache>
            </c:multiLvlStrRef>
          </c:cat>
          <c:val>
            <c:numRef>
              <c:f>Sheet1!$D$2:$D$7</c:f>
              <c:numCache>
                <c:formatCode>General</c:formatCode>
                <c:ptCount val="6"/>
                <c:pt idx="0">
                  <c:v>1980.3181999999999</c:v>
                </c:pt>
                <c:pt idx="1">
                  <c:v>1176.9447</c:v>
                </c:pt>
                <c:pt idx="2">
                  <c:v>5368.7124999999996</c:v>
                </c:pt>
                <c:pt idx="3">
                  <c:v>0</c:v>
                </c:pt>
                <c:pt idx="4">
                  <c:v>1055.4155000000001</c:v>
                </c:pt>
                <c:pt idx="5">
                  <c:v>1010.1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4213-44A0-B1A2-85EFC6D8978F}"/>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C$2:$C$7</c:f>
              <c:numCache>
                <c:formatCode>General</c:formatCode>
                <c:ptCount val="6"/>
                <c:pt idx="0">
                  <c:v>256.89999999999998</c:v>
                </c:pt>
                <c:pt idx="1">
                  <c:v>45.9</c:v>
                </c:pt>
                <c:pt idx="2">
                  <c:v>8.3000000000000007</c:v>
                </c:pt>
                <c:pt idx="3">
                  <c:v>3</c:v>
                </c:pt>
                <c:pt idx="4">
                  <c:v>8.1999999999999993</c:v>
                </c:pt>
                <c:pt idx="5">
                  <c:v>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4213-44A0-B1A2-85EFC6D8978F}"/>
                </c:ext>
              </c:extLst>
            </c:dLbl>
            <c:dLbl>
              <c:idx val="1"/>
              <c:tx>
                <c:rich>
                  <a:bodyPr/>
                  <a:lstStyle/>
                  <a:p>
                    <a:r>
                      <a:t>11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4213-44A0-B1A2-85EFC6D8978F}"/>
                </c:ext>
              </c:extLst>
            </c:dLbl>
            <c:dLbl>
              <c:idx val="2"/>
              <c:tx>
                <c:rich>
                  <a:bodyPr/>
                  <a:lstStyle/>
                  <a:p>
                    <a:r>
                      <a:t>11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213-44A0-B1A2-85EFC6D8978F}"/>
                </c:ext>
              </c:extLst>
            </c:dLbl>
            <c:dLbl>
              <c:idx val="3"/>
              <c:tx>
                <c:rich>
                  <a:bodyPr/>
                  <a:lstStyle/>
                  <a:p>
                    <a:r>
                      <a:t>1135.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213-44A0-B1A2-85EFC6D8978F}"/>
                </c:ext>
              </c:extLst>
            </c:dLbl>
            <c:dLbl>
              <c:idx val="4"/>
              <c:tx>
                <c:rich>
                  <a:bodyPr/>
                  <a:lstStyle/>
                  <a:p>
                    <a:r>
                      <a:t>63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213-44A0-B1A2-85EFC6D8978F}"/>
                </c:ext>
              </c:extLst>
            </c:dLbl>
            <c:dLbl>
              <c:idx val="5"/>
              <c:tx>
                <c:rich>
                  <a:bodyPr/>
                  <a:lstStyle/>
                  <a:p>
                    <a:r>
                      <a:t>627.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213-44A0-B1A2-85EFC6D8978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D$2:$D$7</c:f>
              <c:numCache>
                <c:formatCode>General</c:formatCode>
                <c:ptCount val="6"/>
                <c:pt idx="0">
                  <c:v>1379.9931999999999</c:v>
                </c:pt>
                <c:pt idx="1">
                  <c:v>1177.5009</c:v>
                </c:pt>
                <c:pt idx="2">
                  <c:v>1175.4740999999999</c:v>
                </c:pt>
                <c:pt idx="3">
                  <c:v>1135.2434000000001</c:v>
                </c:pt>
                <c:pt idx="4">
                  <c:v>631.63710000000003</c:v>
                </c:pt>
                <c:pt idx="5">
                  <c:v>627.8382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590B-48A0-9FA1-4D620962E542}"/>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C$2:$C$7</c:f>
              <c:numCache>
                <c:formatCode>General</c:formatCode>
                <c:ptCount val="6"/>
                <c:pt idx="0">
                  <c:v>255.4</c:v>
                </c:pt>
                <c:pt idx="1">
                  <c:v>38.700000000000003</c:v>
                </c:pt>
                <c:pt idx="2">
                  <c:v>5.3</c:v>
                </c:pt>
                <c:pt idx="3">
                  <c:v>2.4</c:v>
                </c:pt>
                <c:pt idx="4">
                  <c:v>3.3</c:v>
                </c:pt>
                <c:pt idx="5">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8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90B-48A0-9FA1-4D620962E542}"/>
                </c:ext>
              </c:extLst>
            </c:dLbl>
            <c:dLbl>
              <c:idx val="1"/>
              <c:tx>
                <c:rich>
                  <a:bodyPr/>
                  <a:lstStyle/>
                  <a:p>
                    <a:r>
                      <a:t>1196.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90B-48A0-9FA1-4D620962E542}"/>
                </c:ext>
              </c:extLst>
            </c:dLbl>
            <c:dLbl>
              <c:idx val="2"/>
              <c:tx>
                <c:rich>
                  <a:bodyPr/>
                  <a:lstStyle/>
                  <a:p>
                    <a:r>
                      <a:t>11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90B-48A0-9FA1-4D620962E542}"/>
                </c:ext>
              </c:extLst>
            </c:dLbl>
            <c:dLbl>
              <c:idx val="3"/>
              <c:tx>
                <c:rich>
                  <a:bodyPr/>
                  <a:lstStyle/>
                  <a:p>
                    <a:r>
                      <a:t>11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90B-48A0-9FA1-4D620962E542}"/>
                </c:ext>
              </c:extLst>
            </c:dLbl>
            <c:dLbl>
              <c:idx val="4"/>
              <c:tx>
                <c:rich>
                  <a:bodyPr/>
                  <a:lstStyle/>
                  <a:p>
                    <a:r>
                      <a:t>562.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90B-48A0-9FA1-4D620962E542}"/>
                </c:ext>
              </c:extLst>
            </c:dLbl>
            <c:dLbl>
              <c:idx val="5"/>
              <c:tx>
                <c:rich>
                  <a:bodyPr/>
                  <a:lstStyle/>
                  <a:p>
                    <a:r>
                      <a:t>70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90B-48A0-9FA1-4D620962E54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D$2:$D$7</c:f>
              <c:numCache>
                <c:formatCode>General</c:formatCode>
                <c:ptCount val="6"/>
                <c:pt idx="0">
                  <c:v>1580.5577000000001</c:v>
                </c:pt>
                <c:pt idx="1">
                  <c:v>1196.0652</c:v>
                </c:pt>
                <c:pt idx="2">
                  <c:v>1114.8275000000001</c:v>
                </c:pt>
                <c:pt idx="3">
                  <c:v>1110.5969</c:v>
                </c:pt>
                <c:pt idx="4">
                  <c:v>562.08209999999997</c:v>
                </c:pt>
                <c:pt idx="5">
                  <c:v>706.3641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FB7-4B8E-AC28-E74930B2F99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C$2:$C$9</c:f>
              <c:numCache>
                <c:formatCode>General</c:formatCode>
                <c:ptCount val="8"/>
                <c:pt idx="0">
                  <c:v>243.9</c:v>
                </c:pt>
                <c:pt idx="1">
                  <c:v>43.6</c:v>
                </c:pt>
                <c:pt idx="2">
                  <c:v>5.9</c:v>
                </c:pt>
                <c:pt idx="3">
                  <c:v>2.7</c:v>
                </c:pt>
                <c:pt idx="4">
                  <c:v>3.9</c:v>
                </c:pt>
                <c:pt idx="5">
                  <c:v>1.6</c:v>
                </c:pt>
                <c:pt idx="6">
                  <c:v>2.6</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9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FB7-4B8E-AC28-E74930B2F991}"/>
                </c:ext>
              </c:extLst>
            </c:dLbl>
            <c:dLbl>
              <c:idx val="1"/>
              <c:tx>
                <c:rich>
                  <a:bodyPr/>
                  <a:lstStyle/>
                  <a:p>
                    <a:r>
                      <a:t>1247.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FB7-4B8E-AC28-E74930B2F991}"/>
                </c:ext>
              </c:extLst>
            </c:dLbl>
            <c:dLbl>
              <c:idx val="2"/>
              <c:tx>
                <c:rich>
                  <a:bodyPr/>
                  <a:lstStyle/>
                  <a:p>
                    <a:r>
                      <a:t>109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FB7-4B8E-AC28-E74930B2F991}"/>
                </c:ext>
              </c:extLst>
            </c:dLbl>
            <c:dLbl>
              <c:idx val="3"/>
              <c:tx>
                <c:rich>
                  <a:bodyPr/>
                  <a:lstStyle/>
                  <a:p>
                    <a:r>
                      <a:t>114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FB7-4B8E-AC28-E74930B2F991}"/>
                </c:ext>
              </c:extLst>
            </c:dLbl>
            <c:dLbl>
              <c:idx val="4"/>
              <c:tx>
                <c:rich>
                  <a:bodyPr/>
                  <a:lstStyle/>
                  <a:p>
                    <a:r>
                      <a:t>55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FB7-4B8E-AC28-E74930B2F991}"/>
                </c:ext>
              </c:extLst>
            </c:dLbl>
            <c:dLbl>
              <c:idx val="5"/>
              <c:tx>
                <c:rich>
                  <a:bodyPr/>
                  <a:lstStyle/>
                  <a:p>
                    <a:r>
                      <a:t>70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FB7-4B8E-AC28-E74930B2F991}"/>
                </c:ext>
              </c:extLst>
            </c:dLbl>
            <c:dLbl>
              <c:idx val="6"/>
              <c:tx>
                <c:rich>
                  <a:bodyPr/>
                  <a:lstStyle/>
                  <a:p>
                    <a:r>
                      <a:t>602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FB7-4B8E-AC28-E74930B2F99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FB7-4B8E-AC28-E74930B2F99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D$2:$D$9</c:f>
              <c:numCache>
                <c:formatCode>General</c:formatCode>
                <c:ptCount val="8"/>
                <c:pt idx="0">
                  <c:v>1598.7659000000001</c:v>
                </c:pt>
                <c:pt idx="1">
                  <c:v>1247.4781</c:v>
                </c:pt>
                <c:pt idx="2">
                  <c:v>1094.9781</c:v>
                </c:pt>
                <c:pt idx="3">
                  <c:v>1141.9157</c:v>
                </c:pt>
                <c:pt idx="4">
                  <c:v>558.18629999999996</c:v>
                </c:pt>
                <c:pt idx="5">
                  <c:v>705.32180000000005</c:v>
                </c:pt>
                <c:pt idx="6">
                  <c:v>6026.638399999999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B7F-4853-86A8-BAB6BA3BAE95}"/>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C$2:$C$7</c:f>
              <c:numCache>
                <c:formatCode>General</c:formatCode>
                <c:ptCount val="6"/>
                <c:pt idx="0">
                  <c:v>180.1</c:v>
                </c:pt>
                <c:pt idx="1">
                  <c:v>31.7</c:v>
                </c:pt>
                <c:pt idx="2">
                  <c:v>4</c:v>
                </c:pt>
                <c:pt idx="3">
                  <c:v>1.7</c:v>
                </c:pt>
                <c:pt idx="4">
                  <c:v>3</c:v>
                </c:pt>
                <c:pt idx="5">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7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B7F-4853-86A8-BAB6BA3BAE95}"/>
                </c:ext>
              </c:extLst>
            </c:dLbl>
            <c:dLbl>
              <c:idx val="1"/>
              <c:tx>
                <c:rich>
                  <a:bodyPr/>
                  <a:lstStyle/>
                  <a:p>
                    <a:r>
                      <a:t>1257.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B7F-4853-86A8-BAB6BA3BAE95}"/>
                </c:ext>
              </c:extLst>
            </c:dLbl>
            <c:dLbl>
              <c:idx val="2"/>
              <c:tx>
                <c:rich>
                  <a:bodyPr/>
                  <a:lstStyle/>
                  <a:p>
                    <a:r>
                      <a:t>114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B7F-4853-86A8-BAB6BA3BAE95}"/>
                </c:ext>
              </c:extLst>
            </c:dLbl>
            <c:dLbl>
              <c:idx val="3"/>
              <c:tx>
                <c:rich>
                  <a:bodyPr/>
                  <a:lstStyle/>
                  <a:p>
                    <a:r>
                      <a:t>11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B7F-4853-86A8-BAB6BA3BAE95}"/>
                </c:ext>
              </c:extLst>
            </c:dLbl>
            <c:dLbl>
              <c:idx val="4"/>
              <c:tx>
                <c:rich>
                  <a:bodyPr/>
                  <a:lstStyle/>
                  <a:p>
                    <a:r>
                      <a:t>580.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B7F-4853-86A8-BAB6BA3BAE95}"/>
                </c:ext>
              </c:extLst>
            </c:dLbl>
            <c:dLbl>
              <c:idx val="5"/>
              <c:tx>
                <c:rich>
                  <a:bodyPr/>
                  <a:lstStyle/>
                  <a:p>
                    <a:r>
                      <a:t>710.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B7F-4853-86A8-BAB6BA3BAE9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D$2:$D$7</c:f>
              <c:numCache>
                <c:formatCode>General</c:formatCode>
                <c:ptCount val="6"/>
                <c:pt idx="0">
                  <c:v>1573.0021999999999</c:v>
                </c:pt>
                <c:pt idx="1">
                  <c:v>1257.0679</c:v>
                </c:pt>
                <c:pt idx="2">
                  <c:v>1142.4345000000001</c:v>
                </c:pt>
                <c:pt idx="3">
                  <c:v>1129.7965999999999</c:v>
                </c:pt>
                <c:pt idx="4">
                  <c:v>580.66570000000002</c:v>
                </c:pt>
                <c:pt idx="5">
                  <c:v>710.3188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12E-425F-A1C7-2CAE94632DF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205.3</c:v>
                </c:pt>
                <c:pt idx="2">
                  <c:v>32.5</c:v>
                </c:pt>
                <c:pt idx="3">
                  <c:v>2.8</c:v>
                </c:pt>
                <c:pt idx="4">
                  <c:v>25</c:v>
                </c:pt>
                <c:pt idx="5">
                  <c:v>7.4</c:v>
                </c:pt>
                <c:pt idx="6">
                  <c:v>18.89999999999999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12E-425F-A1C7-2CAE94632DF2}"/>
                </c:ext>
              </c:extLst>
            </c:dLbl>
            <c:dLbl>
              <c:idx val="1"/>
              <c:tx>
                <c:rich>
                  <a:bodyPr/>
                  <a:lstStyle/>
                  <a:p>
                    <a:r>
                      <a:t>1216.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12E-425F-A1C7-2CAE94632DF2}"/>
                </c:ext>
              </c:extLst>
            </c:dLbl>
            <c:dLbl>
              <c:idx val="2"/>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12E-425F-A1C7-2CAE94632DF2}"/>
                </c:ext>
              </c:extLst>
            </c:dLbl>
            <c:dLbl>
              <c:idx val="3"/>
              <c:tx>
                <c:rich>
                  <a:bodyPr/>
                  <a:lstStyle/>
                  <a:p>
                    <a:r>
                      <a:t>93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12E-425F-A1C7-2CAE94632DF2}"/>
                </c:ext>
              </c:extLst>
            </c:dLbl>
            <c:dLbl>
              <c:idx val="4"/>
              <c:tx>
                <c:rich>
                  <a:bodyPr/>
                  <a:lstStyle/>
                  <a:p>
                    <a:r>
                      <a:t>57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12E-425F-A1C7-2CAE94632DF2}"/>
                </c:ext>
              </c:extLst>
            </c:dLbl>
            <c:dLbl>
              <c:idx val="5"/>
              <c:tx>
                <c:rich>
                  <a:bodyPr/>
                  <a:lstStyle/>
                  <a:p>
                    <a:r>
                      <a:t>43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12E-425F-A1C7-2CAE94632DF2}"/>
                </c:ext>
              </c:extLst>
            </c:dLbl>
            <c:dLbl>
              <c:idx val="6"/>
              <c:tx>
                <c:rich>
                  <a:bodyPr/>
                  <a:lstStyle/>
                  <a:p>
                    <a:r>
                      <a:t>496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12E-425F-A1C7-2CAE94632DF2}"/>
                </c:ext>
              </c:extLst>
            </c:dLbl>
            <c:dLbl>
              <c:idx val="7"/>
              <c:tx>
                <c:rich>
                  <a:bodyPr/>
                  <a:lstStyle/>
                  <a:p>
                    <a:r>
                      <a:t>81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12E-425F-A1C7-2CAE94632DF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D$2:$D$9</c:f>
              <c:numCache>
                <c:formatCode>General</c:formatCode>
                <c:ptCount val="8"/>
                <c:pt idx="0">
                  <c:v>1619.4178999999999</c:v>
                </c:pt>
                <c:pt idx="1">
                  <c:v>1216.7598</c:v>
                </c:pt>
                <c:pt idx="2">
                  <c:v>1116.2927</c:v>
                </c:pt>
                <c:pt idx="3">
                  <c:v>932.18669999999997</c:v>
                </c:pt>
                <c:pt idx="4">
                  <c:v>577.77239999999995</c:v>
                </c:pt>
                <c:pt idx="5">
                  <c:v>439.69450000000001</c:v>
                </c:pt>
                <c:pt idx="6">
                  <c:v>4966.2389999999996</c:v>
                </c:pt>
                <c:pt idx="7">
                  <c:v>818.4528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B10-4C83-9E16-2A574EEF8B0F}"/>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C$2:$C$7</c:f>
              <c:numCache>
                <c:formatCode>General</c:formatCode>
                <c:ptCount val="6"/>
                <c:pt idx="0">
                  <c:v>338.2</c:v>
                </c:pt>
                <c:pt idx="1">
                  <c:v>39.700000000000003</c:v>
                </c:pt>
                <c:pt idx="2">
                  <c:v>5.9</c:v>
                </c:pt>
                <c:pt idx="3">
                  <c:v>0.6</c:v>
                </c:pt>
                <c:pt idx="4">
                  <c:v>4.5</c:v>
                </c:pt>
                <c:pt idx="5">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4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B10-4C83-9E16-2A574EEF8B0F}"/>
                </c:ext>
              </c:extLst>
            </c:dLbl>
            <c:dLbl>
              <c:idx val="1"/>
              <c:tx>
                <c:rich>
                  <a:bodyPr/>
                  <a:lstStyle/>
                  <a:p>
                    <a:r>
                      <a:t>118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B10-4C83-9E16-2A574EEF8B0F}"/>
                </c:ext>
              </c:extLst>
            </c:dLbl>
            <c:dLbl>
              <c:idx val="2"/>
              <c:tx>
                <c:rich>
                  <a:bodyPr/>
                  <a:lstStyle/>
                  <a:p>
                    <a:r>
                      <a:t>107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B10-4C83-9E16-2A574EEF8B0F}"/>
                </c:ext>
              </c:extLst>
            </c:dLbl>
            <c:dLbl>
              <c:idx val="3"/>
              <c:tx>
                <c:rich>
                  <a:bodyPr/>
                  <a:lstStyle/>
                  <a:p>
                    <a:r>
                      <a:t>925.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B10-4C83-9E16-2A574EEF8B0F}"/>
                </c:ext>
              </c:extLst>
            </c:dLbl>
            <c:dLbl>
              <c:idx val="4"/>
              <c:tx>
                <c:rich>
                  <a:bodyPr/>
                  <a:lstStyle/>
                  <a:p>
                    <a:r>
                      <a:t>545.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B10-4C83-9E16-2A574EEF8B0F}"/>
                </c:ext>
              </c:extLst>
            </c:dLbl>
            <c:dLbl>
              <c:idx val="5"/>
              <c:tx>
                <c:rich>
                  <a:bodyPr/>
                  <a:lstStyle/>
                  <a:p>
                    <a:r>
                      <a:t>43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B10-4C83-9E16-2A574EEF8B0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D$2:$D$7</c:f>
              <c:numCache>
                <c:formatCode>General</c:formatCode>
                <c:ptCount val="6"/>
                <c:pt idx="0">
                  <c:v>1648.4514999999999</c:v>
                </c:pt>
                <c:pt idx="1">
                  <c:v>1183.4413</c:v>
                </c:pt>
                <c:pt idx="2">
                  <c:v>1077.7547999999999</c:v>
                </c:pt>
                <c:pt idx="3">
                  <c:v>925.3365</c:v>
                </c:pt>
                <c:pt idx="4">
                  <c:v>545.77909999999997</c:v>
                </c:pt>
                <c:pt idx="5">
                  <c:v>431.0600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0B9669E-3270-43B2-BA6B-11918D383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B980771-2AED-4EF8-8D72-EE175E053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953666D-22A9-408D-B396-C02CF0575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709C5BE-8BF5-404B-82DC-25F6FBE16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5620C9C-156A-4AB9-99E2-D0BA08AA1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ADDABDC-0FDE-4F88-AE6A-FDBA8987F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5E34C987-F208-4D05-B865-90C7D2C4C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6464B5CA-5515-4AF6-B7AD-737E566E2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88.75829999999996</c:v>
                </c:pt>
                <c:pt idx="1">
                  <c:v>253.01519999999999</c:v>
                </c:pt>
                <c:pt idx="2">
                  <c:v>430.09399999999999</c:v>
                </c:pt>
                <c:pt idx="3">
                  <c:v>382.25119999999998</c:v>
                </c:pt>
                <c:pt idx="4">
                  <c:v>248.8271</c:v>
                </c:pt>
                <c:pt idx="5">
                  <c:v>200.51390000000001</c:v>
                </c:pt>
              </c:numCache>
            </c:numRef>
          </c:xVal>
          <c:yVal>
            <c:numRef>
              <c:f>Sheet1!$B$2:$B$7</c:f>
              <c:numCache>
                <c:formatCode>General</c:formatCode>
                <c:ptCount val="6"/>
                <c:pt idx="0">
                  <c:v>1.9330000000000001</c:v>
                </c:pt>
                <c:pt idx="1">
                  <c:v>0.58399999999999996</c:v>
                </c:pt>
                <c:pt idx="2">
                  <c:v>4.1900000000000004</c:v>
                </c:pt>
                <c:pt idx="3">
                  <c:v>1.159</c:v>
                </c:pt>
                <c:pt idx="4">
                  <c:v>2.8929999999999998</c:v>
                </c:pt>
                <c:pt idx="5">
                  <c:v>0.379</c:v>
                </c:pt>
              </c:numCache>
            </c:numRef>
          </c:yVal>
          <c:bubbleSize>
            <c:numRef>
              <c:f>Sheet1!$C$2:$C$7</c:f>
              <c:numCache>
                <c:formatCode>General</c:formatCode>
                <c:ptCount val="6"/>
                <c:pt idx="0">
                  <c:v>1205777</c:v>
                </c:pt>
                <c:pt idx="1">
                  <c:v>365860</c:v>
                </c:pt>
                <c:pt idx="2">
                  <c:v>288163</c:v>
                </c:pt>
                <c:pt idx="3">
                  <c:v>241965</c:v>
                </c:pt>
                <c:pt idx="4">
                  <c:v>113714</c:v>
                </c:pt>
                <c:pt idx="5">
                  <c:v>50329</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La Roche-Posay</c:v>
                  </c:pt>
                  <c:pt idx="3">
                    <c:v>Mustela</c:v>
                  </c:pt>
                  <c:pt idx="4">
                    <c:v>Photoderm</c:v>
                  </c:pt>
                  <c:pt idx="5">
                    <c:v>Hawaiian Tropic</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7"/>
          <c:min val="1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D6F0-4DDB-A0B3-57A1A3BB511D}"/>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Banded Pack</c:v>
                  </c:pt>
                  <c:pt idx="4">
                    <c:v>Tanning</c:v>
                  </c:pt>
                </c:lvl>
              </c:multiLvlStrCache>
            </c:multiLvlStrRef>
          </c:cat>
          <c:val>
            <c:numRef>
              <c:f>Sheet1!$C$2:$C$7</c:f>
              <c:numCache>
                <c:formatCode>General</c:formatCode>
                <c:ptCount val="6"/>
                <c:pt idx="0">
                  <c:v>292.8</c:v>
                </c:pt>
                <c:pt idx="1">
                  <c:v>31.4</c:v>
                </c:pt>
                <c:pt idx="2">
                  <c:v>11.8</c:v>
                </c:pt>
                <c:pt idx="3">
                  <c:v>0</c:v>
                </c:pt>
                <c:pt idx="4">
                  <c:v>3.1</c:v>
                </c:pt>
                <c:pt idx="5">
                  <c:v>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980.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6F0-4DDB-A0B3-57A1A3BB511D}"/>
                </c:ext>
              </c:extLst>
            </c:dLbl>
            <c:dLbl>
              <c:idx val="1"/>
              <c:tx>
                <c:rich>
                  <a:bodyPr/>
                  <a:lstStyle/>
                  <a:p>
                    <a:r>
                      <a:t>117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6F0-4DDB-A0B3-57A1A3BB511D}"/>
                </c:ext>
              </c:extLst>
            </c:dLbl>
            <c:dLbl>
              <c:idx val="2"/>
              <c:tx>
                <c:rich>
                  <a:bodyPr/>
                  <a:lstStyle/>
                  <a:p>
                    <a:r>
                      <a:t>536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6F0-4DDB-A0B3-57A1A3BB511D}"/>
                </c:ext>
              </c:extLst>
            </c:dLbl>
            <c:dLbl>
              <c:idx val="3"/>
              <c:tx>
                <c:rich>
                  <a:bodyPr/>
                  <a:lstStyle/>
                  <a:p>
                    <a:r>
                      <a:t>76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6F0-4DDB-A0B3-57A1A3BB511D}"/>
                </c:ext>
              </c:extLst>
            </c:dLbl>
            <c:dLbl>
              <c:idx val="4"/>
              <c:tx>
                <c:rich>
                  <a:bodyPr/>
                  <a:lstStyle/>
                  <a:p>
                    <a:r>
                      <a:t>1055.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6F0-4DDB-A0B3-57A1A3BB511D}"/>
                </c:ext>
              </c:extLst>
            </c:dLbl>
            <c:dLbl>
              <c:idx val="5"/>
              <c:tx>
                <c:rich>
                  <a:bodyPr/>
                  <a:lstStyle/>
                  <a:p>
                    <a:r>
                      <a:t>894.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6F0-4DDB-A0B3-57A1A3BB511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Banded Pack</c:v>
                  </c:pt>
                  <c:pt idx="4">
                    <c:v>Tanning</c:v>
                  </c:pt>
                </c:lvl>
              </c:multiLvlStrCache>
            </c:multiLvlStrRef>
          </c:cat>
          <c:val>
            <c:numRef>
              <c:f>Sheet1!$D$2:$D$7</c:f>
              <c:numCache>
                <c:formatCode>General</c:formatCode>
                <c:ptCount val="6"/>
                <c:pt idx="0">
                  <c:v>1980.3181999999999</c:v>
                </c:pt>
                <c:pt idx="1">
                  <c:v>1175.7283</c:v>
                </c:pt>
                <c:pt idx="2">
                  <c:v>5368.7124999999996</c:v>
                </c:pt>
                <c:pt idx="3">
                  <c:v>766.42859999999996</c:v>
                </c:pt>
                <c:pt idx="4">
                  <c:v>1055.4155000000001</c:v>
                </c:pt>
                <c:pt idx="5">
                  <c:v>894.2736999999999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C37B-476A-8140-A4CE2836A2B5}"/>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C$2:$C$7</c:f>
              <c:numCache>
                <c:formatCode>General</c:formatCode>
                <c:ptCount val="6"/>
                <c:pt idx="0">
                  <c:v>256.89999999999998</c:v>
                </c:pt>
                <c:pt idx="1">
                  <c:v>33.799999999999997</c:v>
                </c:pt>
                <c:pt idx="2">
                  <c:v>8.3000000000000007</c:v>
                </c:pt>
                <c:pt idx="3">
                  <c:v>0.3</c:v>
                </c:pt>
                <c:pt idx="4">
                  <c:v>8.1999999999999993</c:v>
                </c:pt>
                <c:pt idx="5">
                  <c:v>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37B-476A-8140-A4CE2836A2B5}"/>
                </c:ext>
              </c:extLst>
            </c:dLbl>
            <c:dLbl>
              <c:idx val="1"/>
              <c:tx>
                <c:rich>
                  <a:bodyPr/>
                  <a:lstStyle/>
                  <a:p>
                    <a:r>
                      <a:t>120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37B-476A-8140-A4CE2836A2B5}"/>
                </c:ext>
              </c:extLst>
            </c:dLbl>
            <c:dLbl>
              <c:idx val="2"/>
              <c:tx>
                <c:rich>
                  <a:bodyPr/>
                  <a:lstStyle/>
                  <a:p>
                    <a:r>
                      <a:t>11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37B-476A-8140-A4CE2836A2B5}"/>
                </c:ext>
              </c:extLst>
            </c:dLbl>
            <c:dLbl>
              <c:idx val="3"/>
              <c:tx>
                <c:rich>
                  <a:bodyPr/>
                  <a:lstStyle/>
                  <a:p>
                    <a:r>
                      <a:t>97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37B-476A-8140-A4CE2836A2B5}"/>
                </c:ext>
              </c:extLst>
            </c:dLbl>
            <c:dLbl>
              <c:idx val="4"/>
              <c:tx>
                <c:rich>
                  <a:bodyPr/>
                  <a:lstStyle/>
                  <a:p>
                    <a:r>
                      <a:t>63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37B-476A-8140-A4CE2836A2B5}"/>
                </c:ext>
              </c:extLst>
            </c:dLbl>
            <c:dLbl>
              <c:idx val="5"/>
              <c:tx>
                <c:rich>
                  <a:bodyPr/>
                  <a:lstStyle/>
                  <a:p>
                    <a:r>
                      <a:t>42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37B-476A-8140-A4CE2836A2B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D$2:$D$7</c:f>
              <c:numCache>
                <c:formatCode>General</c:formatCode>
                <c:ptCount val="6"/>
                <c:pt idx="0">
                  <c:v>1379.9931999999999</c:v>
                </c:pt>
                <c:pt idx="1">
                  <c:v>1203.7001</c:v>
                </c:pt>
                <c:pt idx="2">
                  <c:v>1175.4740999999999</c:v>
                </c:pt>
                <c:pt idx="3">
                  <c:v>974.74749999999995</c:v>
                </c:pt>
                <c:pt idx="4">
                  <c:v>631.63710000000003</c:v>
                </c:pt>
                <c:pt idx="5">
                  <c:v>424.4560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4C7-49C9-B35B-F1278D71C1C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C$2:$C$7</c:f>
              <c:numCache>
                <c:formatCode>General</c:formatCode>
                <c:ptCount val="6"/>
                <c:pt idx="0">
                  <c:v>255.4</c:v>
                </c:pt>
                <c:pt idx="1">
                  <c:v>31</c:v>
                </c:pt>
                <c:pt idx="2">
                  <c:v>5.3</c:v>
                </c:pt>
                <c:pt idx="3">
                  <c:v>0.4</c:v>
                </c:pt>
                <c:pt idx="4">
                  <c:v>3.3</c:v>
                </c:pt>
                <c:pt idx="5">
                  <c:v>1.10000000000000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8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4C7-49C9-B35B-F1278D71C1CC}"/>
                </c:ext>
              </c:extLst>
            </c:dLbl>
            <c:dLbl>
              <c:idx val="1"/>
              <c:tx>
                <c:rich>
                  <a:bodyPr/>
                  <a:lstStyle/>
                  <a:p>
                    <a:r>
                      <a:t>118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4C7-49C9-B35B-F1278D71C1CC}"/>
                </c:ext>
              </c:extLst>
            </c:dLbl>
            <c:dLbl>
              <c:idx val="2"/>
              <c:tx>
                <c:rich>
                  <a:bodyPr/>
                  <a:lstStyle/>
                  <a:p>
                    <a:r>
                      <a:t>11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4C7-49C9-B35B-F1278D71C1CC}"/>
                </c:ext>
              </c:extLst>
            </c:dLbl>
            <c:dLbl>
              <c:idx val="3"/>
              <c:tx>
                <c:rich>
                  <a:bodyPr/>
                  <a:lstStyle/>
                  <a:p>
                    <a:r>
                      <a:t>94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4C7-49C9-B35B-F1278D71C1CC}"/>
                </c:ext>
              </c:extLst>
            </c:dLbl>
            <c:dLbl>
              <c:idx val="4"/>
              <c:tx>
                <c:rich>
                  <a:bodyPr/>
                  <a:lstStyle/>
                  <a:p>
                    <a:r>
                      <a:t>562.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4C7-49C9-B35B-F1278D71C1CC}"/>
                </c:ext>
              </c:extLst>
            </c:dLbl>
            <c:dLbl>
              <c:idx val="5"/>
              <c:tx>
                <c:rich>
                  <a:bodyPr/>
                  <a:lstStyle/>
                  <a:p>
                    <a:r>
                      <a:t>43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4C7-49C9-B35B-F1278D71C1C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D$2:$D$7</c:f>
              <c:numCache>
                <c:formatCode>General</c:formatCode>
                <c:ptCount val="6"/>
                <c:pt idx="0">
                  <c:v>1580.5577000000001</c:v>
                </c:pt>
                <c:pt idx="1">
                  <c:v>1181.6784</c:v>
                </c:pt>
                <c:pt idx="2">
                  <c:v>1114.8275000000001</c:v>
                </c:pt>
                <c:pt idx="3">
                  <c:v>949.65440000000001</c:v>
                </c:pt>
                <c:pt idx="4">
                  <c:v>562.08209999999997</c:v>
                </c:pt>
                <c:pt idx="5">
                  <c:v>433.25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16EA-457A-B6F2-2850D8E8046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C$2:$C$9</c:f>
              <c:numCache>
                <c:formatCode>General</c:formatCode>
                <c:ptCount val="8"/>
                <c:pt idx="0">
                  <c:v>243.9</c:v>
                </c:pt>
                <c:pt idx="1">
                  <c:v>39.299999999999997</c:v>
                </c:pt>
                <c:pt idx="2">
                  <c:v>5.9</c:v>
                </c:pt>
                <c:pt idx="3">
                  <c:v>0.7</c:v>
                </c:pt>
                <c:pt idx="4">
                  <c:v>3.9</c:v>
                </c:pt>
                <c:pt idx="5">
                  <c:v>1.5</c:v>
                </c:pt>
                <c:pt idx="6">
                  <c:v>2.6</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9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6EA-457A-B6F2-2850D8E8046D}"/>
                </c:ext>
              </c:extLst>
            </c:dLbl>
            <c:dLbl>
              <c:idx val="1"/>
              <c:tx>
                <c:rich>
                  <a:bodyPr/>
                  <a:lstStyle/>
                  <a:p>
                    <a:r>
                      <a:t>1264.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6EA-457A-B6F2-2850D8E8046D}"/>
                </c:ext>
              </c:extLst>
            </c:dLbl>
            <c:dLbl>
              <c:idx val="2"/>
              <c:tx>
                <c:rich>
                  <a:bodyPr/>
                  <a:lstStyle/>
                  <a:p>
                    <a:r>
                      <a:t>109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6EA-457A-B6F2-2850D8E8046D}"/>
                </c:ext>
              </c:extLst>
            </c:dLbl>
            <c:dLbl>
              <c:idx val="3"/>
              <c:tx>
                <c:rich>
                  <a:bodyPr/>
                  <a:lstStyle/>
                  <a:p>
                    <a:r>
                      <a:t>95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6EA-457A-B6F2-2850D8E8046D}"/>
                </c:ext>
              </c:extLst>
            </c:dLbl>
            <c:dLbl>
              <c:idx val="4"/>
              <c:tx>
                <c:rich>
                  <a:bodyPr/>
                  <a:lstStyle/>
                  <a:p>
                    <a:r>
                      <a:t>55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6EA-457A-B6F2-2850D8E8046D}"/>
                </c:ext>
              </c:extLst>
            </c:dLbl>
            <c:dLbl>
              <c:idx val="5"/>
              <c:tx>
                <c:rich>
                  <a:bodyPr/>
                  <a:lstStyle/>
                  <a:p>
                    <a:r>
                      <a:t>448.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6EA-457A-B6F2-2850D8E8046D}"/>
                </c:ext>
              </c:extLst>
            </c:dLbl>
            <c:dLbl>
              <c:idx val="6"/>
              <c:tx>
                <c:rich>
                  <a:bodyPr/>
                  <a:lstStyle/>
                  <a:p>
                    <a:r>
                      <a:t>602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6EA-457A-B6F2-2850D8E8046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6EA-457A-B6F2-2850D8E8046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D$2:$D$9</c:f>
              <c:numCache>
                <c:formatCode>General</c:formatCode>
                <c:ptCount val="8"/>
                <c:pt idx="0">
                  <c:v>1598.7659000000001</c:v>
                </c:pt>
                <c:pt idx="1">
                  <c:v>1264.4736</c:v>
                </c:pt>
                <c:pt idx="2">
                  <c:v>1094.9781</c:v>
                </c:pt>
                <c:pt idx="3">
                  <c:v>951.13599999999997</c:v>
                </c:pt>
                <c:pt idx="4">
                  <c:v>558.18629999999996</c:v>
                </c:pt>
                <c:pt idx="5">
                  <c:v>448.95030000000003</c:v>
                </c:pt>
                <c:pt idx="6">
                  <c:v>6026.638399999999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D513-47BD-B865-456EE6AA73DB}"/>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C$2:$C$7</c:f>
              <c:numCache>
                <c:formatCode>General</c:formatCode>
                <c:ptCount val="6"/>
                <c:pt idx="0">
                  <c:v>180.1</c:v>
                </c:pt>
                <c:pt idx="1">
                  <c:v>30.2</c:v>
                </c:pt>
                <c:pt idx="2">
                  <c:v>4</c:v>
                </c:pt>
                <c:pt idx="3">
                  <c:v>0.4</c:v>
                </c:pt>
                <c:pt idx="4">
                  <c:v>3</c:v>
                </c:pt>
                <c:pt idx="5">
                  <c:v>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7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513-47BD-B865-456EE6AA73DB}"/>
                </c:ext>
              </c:extLst>
            </c:dLbl>
            <c:dLbl>
              <c:idx val="1"/>
              <c:tx>
                <c:rich>
                  <a:bodyPr/>
                  <a:lstStyle/>
                  <a:p>
                    <a:r>
                      <a:t>130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513-47BD-B865-456EE6AA73DB}"/>
                </c:ext>
              </c:extLst>
            </c:dLbl>
            <c:dLbl>
              <c:idx val="2"/>
              <c:tx>
                <c:rich>
                  <a:bodyPr/>
                  <a:lstStyle/>
                  <a:p>
                    <a:r>
                      <a:t>114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513-47BD-B865-456EE6AA73DB}"/>
                </c:ext>
              </c:extLst>
            </c:dLbl>
            <c:dLbl>
              <c:idx val="3"/>
              <c:tx>
                <c:rich>
                  <a:bodyPr/>
                  <a:lstStyle/>
                  <a:p>
                    <a:r>
                      <a:t>905.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513-47BD-B865-456EE6AA73DB}"/>
                </c:ext>
              </c:extLst>
            </c:dLbl>
            <c:dLbl>
              <c:idx val="4"/>
              <c:tx>
                <c:rich>
                  <a:bodyPr/>
                  <a:lstStyle/>
                  <a:p>
                    <a:r>
                      <a:t>580.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513-47BD-B865-456EE6AA73DB}"/>
                </c:ext>
              </c:extLst>
            </c:dLbl>
            <c:dLbl>
              <c:idx val="5"/>
              <c:tx>
                <c:rich>
                  <a:bodyPr/>
                  <a:lstStyle/>
                  <a:p>
                    <a:r>
                      <a:t>43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513-47BD-B865-456EE6AA73D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D$2:$D$7</c:f>
              <c:numCache>
                <c:formatCode>General</c:formatCode>
                <c:ptCount val="6"/>
                <c:pt idx="0">
                  <c:v>1573.0021999999999</c:v>
                </c:pt>
                <c:pt idx="1">
                  <c:v>1304.0216</c:v>
                </c:pt>
                <c:pt idx="2">
                  <c:v>1142.4345000000001</c:v>
                </c:pt>
                <c:pt idx="3">
                  <c:v>905.03060000000005</c:v>
                </c:pt>
                <c:pt idx="4">
                  <c:v>580.66570000000002</c:v>
                </c:pt>
                <c:pt idx="5">
                  <c:v>432.3743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68D-4D32-B045-AEF05637FEE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12.5</c:v>
                </c:pt>
                <c:pt idx="2">
                  <c:v>32.5</c:v>
                </c:pt>
                <c:pt idx="3">
                  <c:v>0</c:v>
                </c:pt>
                <c:pt idx="4">
                  <c:v>25</c:v>
                </c:pt>
                <c:pt idx="5">
                  <c:v>0</c:v>
                </c:pt>
                <c:pt idx="6">
                  <c:v>18.89999999999999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68D-4D32-B045-AEF05637FEED}"/>
                </c:ext>
              </c:extLst>
            </c:dLbl>
            <c:dLbl>
              <c:idx val="1"/>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68D-4D32-B045-AEF05637FEED}"/>
                </c:ext>
              </c:extLst>
            </c:dLbl>
            <c:dLbl>
              <c:idx val="2"/>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68D-4D32-B045-AEF05637FEE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68D-4D32-B045-AEF05637FEED}"/>
                </c:ext>
              </c:extLst>
            </c:dLbl>
            <c:dLbl>
              <c:idx val="4"/>
              <c:tx>
                <c:rich>
                  <a:bodyPr/>
                  <a:lstStyle/>
                  <a:p>
                    <a:r>
                      <a:t>57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68D-4D32-B045-AEF05637FEE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68D-4D32-B045-AEF05637FEED}"/>
                </c:ext>
              </c:extLst>
            </c:dLbl>
            <c:dLbl>
              <c:idx val="6"/>
              <c:tx>
                <c:rich>
                  <a:bodyPr/>
                  <a:lstStyle/>
                  <a:p>
                    <a:r>
                      <a:t>496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68D-4D32-B045-AEF05637FEE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68D-4D32-B045-AEF05637FEE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D$2:$D$9</c:f>
              <c:numCache>
                <c:formatCode>General</c:formatCode>
                <c:ptCount val="8"/>
                <c:pt idx="0">
                  <c:v>1619.4178999999999</c:v>
                </c:pt>
                <c:pt idx="1">
                  <c:v>4025.5318000000002</c:v>
                </c:pt>
                <c:pt idx="2">
                  <c:v>1116.2927</c:v>
                </c:pt>
                <c:pt idx="3">
                  <c:v>0</c:v>
                </c:pt>
                <c:pt idx="4">
                  <c:v>577.77239999999995</c:v>
                </c:pt>
                <c:pt idx="5">
                  <c:v>0</c:v>
                </c:pt>
                <c:pt idx="6">
                  <c:v>4966.2389999999996</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5CA4-4EE5-97F3-00845E3C8565}"/>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C$2:$C$7</c:f>
              <c:numCache>
                <c:formatCode>General</c:formatCode>
                <c:ptCount val="6"/>
                <c:pt idx="0">
                  <c:v>338.2</c:v>
                </c:pt>
                <c:pt idx="1">
                  <c:v>3</c:v>
                </c:pt>
                <c:pt idx="2">
                  <c:v>5.9</c:v>
                </c:pt>
                <c:pt idx="3">
                  <c:v>0</c:v>
                </c:pt>
                <c:pt idx="4">
                  <c:v>4.5</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4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CA4-4EE5-97F3-00845E3C8565}"/>
                </c:ext>
              </c:extLst>
            </c:dLbl>
            <c:dLbl>
              <c:idx val="1"/>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CA4-4EE5-97F3-00845E3C8565}"/>
                </c:ext>
              </c:extLst>
            </c:dLbl>
            <c:dLbl>
              <c:idx val="2"/>
              <c:tx>
                <c:rich>
                  <a:bodyPr/>
                  <a:lstStyle/>
                  <a:p>
                    <a:r>
                      <a:t>107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CA4-4EE5-97F3-00845E3C856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CA4-4EE5-97F3-00845E3C8565}"/>
                </c:ext>
              </c:extLst>
            </c:dLbl>
            <c:dLbl>
              <c:idx val="4"/>
              <c:tx>
                <c:rich>
                  <a:bodyPr/>
                  <a:lstStyle/>
                  <a:p>
                    <a:r>
                      <a:t>545.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CA4-4EE5-97F3-00845E3C856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CA4-4EE5-97F3-00845E3C856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D$2:$D$7</c:f>
              <c:numCache>
                <c:formatCode>General</c:formatCode>
                <c:ptCount val="6"/>
                <c:pt idx="0">
                  <c:v>1648.4514999999999</c:v>
                </c:pt>
                <c:pt idx="1">
                  <c:v>4341.9049999999997</c:v>
                </c:pt>
                <c:pt idx="2">
                  <c:v>1077.7547999999999</c:v>
                </c:pt>
                <c:pt idx="3">
                  <c:v>0</c:v>
                </c:pt>
                <c:pt idx="4">
                  <c:v>545.77909999999997</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F1D-4DF0-B570-25B45C77BFC9}"/>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Banded Pack</c:v>
                  </c:pt>
                  <c:pt idx="4">
                    <c:v>Tanning</c:v>
                  </c:pt>
                </c:lvl>
              </c:multiLvlStrCache>
            </c:multiLvlStrRef>
          </c:cat>
          <c:val>
            <c:numRef>
              <c:f>Sheet1!$C$2:$C$7</c:f>
              <c:numCache>
                <c:formatCode>General</c:formatCode>
                <c:ptCount val="6"/>
                <c:pt idx="0">
                  <c:v>292.8</c:v>
                </c:pt>
                <c:pt idx="1">
                  <c:v>1.9</c:v>
                </c:pt>
                <c:pt idx="2">
                  <c:v>11.8</c:v>
                </c:pt>
                <c:pt idx="3">
                  <c:v>0</c:v>
                </c:pt>
                <c:pt idx="4">
                  <c:v>3.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980.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2F1D-4DF0-B570-25B45C77BFC9}"/>
                </c:ext>
              </c:extLst>
            </c:dLbl>
            <c:dLbl>
              <c:idx val="1"/>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2F1D-4DF0-B570-25B45C77BFC9}"/>
                </c:ext>
              </c:extLst>
            </c:dLbl>
            <c:dLbl>
              <c:idx val="2"/>
              <c:tx>
                <c:rich>
                  <a:bodyPr/>
                  <a:lstStyle/>
                  <a:p>
                    <a:r>
                      <a:t>536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F1D-4DF0-B570-25B45C77BFC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F1D-4DF0-B570-25B45C77BFC9}"/>
                </c:ext>
              </c:extLst>
            </c:dLbl>
            <c:dLbl>
              <c:idx val="4"/>
              <c:tx>
                <c:rich>
                  <a:bodyPr/>
                  <a:lstStyle/>
                  <a:p>
                    <a:r>
                      <a:t>1055.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F1D-4DF0-B570-25B45C77BFC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F1D-4DF0-B570-25B45C77BFC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Banded Pack</c:v>
                  </c:pt>
                  <c:pt idx="4">
                    <c:v>Tanning</c:v>
                  </c:pt>
                </c:lvl>
              </c:multiLvlStrCache>
            </c:multiLvlStrRef>
          </c:cat>
          <c:val>
            <c:numRef>
              <c:f>Sheet1!$D$2:$D$7</c:f>
              <c:numCache>
                <c:formatCode>General</c:formatCode>
                <c:ptCount val="6"/>
                <c:pt idx="0">
                  <c:v>1980.3181999999999</c:v>
                </c:pt>
                <c:pt idx="1">
                  <c:v>4279.4597999999996</c:v>
                </c:pt>
                <c:pt idx="2">
                  <c:v>5368.7124999999996</c:v>
                </c:pt>
                <c:pt idx="3">
                  <c:v>0</c:v>
                </c:pt>
                <c:pt idx="4">
                  <c:v>1055.4155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5E7B-4ED7-9EBD-1D7F39BCE823}"/>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C$2:$C$7</c:f>
              <c:numCache>
                <c:formatCode>General</c:formatCode>
                <c:ptCount val="6"/>
                <c:pt idx="0">
                  <c:v>256.89999999999998</c:v>
                </c:pt>
                <c:pt idx="1">
                  <c:v>2.2000000000000002</c:v>
                </c:pt>
                <c:pt idx="2">
                  <c:v>8.3000000000000007</c:v>
                </c:pt>
                <c:pt idx="3">
                  <c:v>0</c:v>
                </c:pt>
                <c:pt idx="4">
                  <c:v>8.1999999999999993</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E7B-4ED7-9EBD-1D7F39BCE823}"/>
                </c:ext>
              </c:extLst>
            </c:dLbl>
            <c:dLbl>
              <c:idx val="1"/>
              <c:tx>
                <c:rich>
                  <a:bodyPr/>
                  <a:lstStyle/>
                  <a:p>
                    <a:r>
                      <a:t>310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E7B-4ED7-9EBD-1D7F39BCE823}"/>
                </c:ext>
              </c:extLst>
            </c:dLbl>
            <c:dLbl>
              <c:idx val="2"/>
              <c:tx>
                <c:rich>
                  <a:bodyPr/>
                  <a:lstStyle/>
                  <a:p>
                    <a:r>
                      <a:t>11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E7B-4ED7-9EBD-1D7F39BCE82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E7B-4ED7-9EBD-1D7F39BCE823}"/>
                </c:ext>
              </c:extLst>
            </c:dLbl>
            <c:dLbl>
              <c:idx val="4"/>
              <c:tx>
                <c:rich>
                  <a:bodyPr/>
                  <a:lstStyle/>
                  <a:p>
                    <a:r>
                      <a:t>63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E7B-4ED7-9EBD-1D7F39BCE82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E7B-4ED7-9EBD-1D7F39BCE82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D$2:$D$7</c:f>
              <c:numCache>
                <c:formatCode>General</c:formatCode>
                <c:ptCount val="6"/>
                <c:pt idx="0">
                  <c:v>1379.9931999999999</c:v>
                </c:pt>
                <c:pt idx="1">
                  <c:v>3103.4389000000001</c:v>
                </c:pt>
                <c:pt idx="2">
                  <c:v>1175.4740999999999</c:v>
                </c:pt>
                <c:pt idx="3">
                  <c:v>0</c:v>
                </c:pt>
                <c:pt idx="4">
                  <c:v>631.63710000000003</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CA58-4A96-B9C4-03A077D4153F}"/>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C$2:$C$7</c:f>
              <c:numCache>
                <c:formatCode>General</c:formatCode>
                <c:ptCount val="6"/>
                <c:pt idx="0">
                  <c:v>255.4</c:v>
                </c:pt>
                <c:pt idx="1">
                  <c:v>1.8</c:v>
                </c:pt>
                <c:pt idx="2">
                  <c:v>5.3</c:v>
                </c:pt>
                <c:pt idx="3">
                  <c:v>0</c:v>
                </c:pt>
                <c:pt idx="4">
                  <c:v>3.3</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8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A58-4A96-B9C4-03A077D4153F}"/>
                </c:ext>
              </c:extLst>
            </c:dLbl>
            <c:dLbl>
              <c:idx val="1"/>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A58-4A96-B9C4-03A077D4153F}"/>
                </c:ext>
              </c:extLst>
            </c:dLbl>
            <c:dLbl>
              <c:idx val="2"/>
              <c:tx>
                <c:rich>
                  <a:bodyPr/>
                  <a:lstStyle/>
                  <a:p>
                    <a:r>
                      <a:t>11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A58-4A96-B9C4-03A077D4153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A58-4A96-B9C4-03A077D4153F}"/>
                </c:ext>
              </c:extLst>
            </c:dLbl>
            <c:dLbl>
              <c:idx val="4"/>
              <c:tx>
                <c:rich>
                  <a:bodyPr/>
                  <a:lstStyle/>
                  <a:p>
                    <a:r>
                      <a:t>562.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A58-4A96-B9C4-03A077D4153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A58-4A96-B9C4-03A077D4153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D$2:$D$7</c:f>
              <c:numCache>
                <c:formatCode>General</c:formatCode>
                <c:ptCount val="6"/>
                <c:pt idx="0">
                  <c:v>1580.5577000000001</c:v>
                </c:pt>
                <c:pt idx="1">
                  <c:v>4233.1399000000001</c:v>
                </c:pt>
                <c:pt idx="2">
                  <c:v>1114.8275000000001</c:v>
                </c:pt>
                <c:pt idx="3">
                  <c:v>0</c:v>
                </c:pt>
                <c:pt idx="4">
                  <c:v>562.08209999999997</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880C668-B22F-4666-AEB4-9807DD9E5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47B7726-3481-49E4-B149-1994C12F9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7F3FC3F-4ECD-4D79-835B-EC4992A71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26F64EF-5399-4A4B-8C5A-D7246AAC3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76D4A45-6679-4279-A37A-35BB46829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C2AB818-4039-4B98-8429-510D66DB4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7A45B89-11E9-4B7A-9A9E-54078C85B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EBEEC3A2-59C1-4EC4-90A2-92A9901D2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6.98430000000002</c:v>
                </c:pt>
                <c:pt idx="1">
                  <c:v>235.8278</c:v>
                </c:pt>
                <c:pt idx="2">
                  <c:v>73.155199999999994</c:v>
                </c:pt>
                <c:pt idx="3">
                  <c:v>74.095299999999995</c:v>
                </c:pt>
                <c:pt idx="4">
                  <c:v>632.39710000000002</c:v>
                </c:pt>
                <c:pt idx="5">
                  <c:v>565.08249999999998</c:v>
                </c:pt>
                <c:pt idx="6">
                  <c:v>558.32989999999995</c:v>
                </c:pt>
                <c:pt idx="7">
                  <c:v>148.36269999999999</c:v>
                </c:pt>
              </c:numCache>
            </c:numRef>
          </c:xVal>
          <c:yVal>
            <c:numRef>
              <c:f>Sheet1!$B$2:$B$9</c:f>
              <c:numCache>
                <c:formatCode>General</c:formatCode>
                <c:ptCount val="8"/>
                <c:pt idx="0">
                  <c:v>1.256</c:v>
                </c:pt>
                <c:pt idx="1">
                  <c:v>1.01</c:v>
                </c:pt>
                <c:pt idx="2">
                  <c:v>0.497</c:v>
                </c:pt>
                <c:pt idx="3">
                  <c:v>0.53100000000000003</c:v>
                </c:pt>
                <c:pt idx="4">
                  <c:v>3.4740000000000002</c:v>
                </c:pt>
                <c:pt idx="5">
                  <c:v>2.331</c:v>
                </c:pt>
                <c:pt idx="6">
                  <c:v>2.4609999999999999</c:v>
                </c:pt>
                <c:pt idx="7">
                  <c:v>0.61599999999999999</c:v>
                </c:pt>
              </c:numCache>
            </c:numRef>
          </c:yVal>
          <c:bubbleSize>
            <c:numRef>
              <c:f>Sheet1!$C$2:$C$9</c:f>
              <c:numCache>
                <c:formatCode>General</c:formatCode>
                <c:ptCount val="8"/>
                <c:pt idx="0">
                  <c:v>8296738</c:v>
                </c:pt>
                <c:pt idx="1">
                  <c:v>6267125</c:v>
                </c:pt>
                <c:pt idx="2">
                  <c:v>1956024</c:v>
                </c:pt>
                <c:pt idx="3">
                  <c:v>793783</c:v>
                </c:pt>
                <c:pt idx="4">
                  <c:v>694372</c:v>
                </c:pt>
                <c:pt idx="5">
                  <c:v>534003</c:v>
                </c:pt>
                <c:pt idx="6">
                  <c:v>431589</c:v>
                </c:pt>
                <c:pt idx="7">
                  <c:v>30266</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Eucerin</c:v>
                  </c:pt>
                  <c:pt idx="7">
                    <c:v>Hawaiian Tropic</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9"/>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25E-4F49-A43D-8297B92CB84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C$2:$C$9</c:f>
              <c:numCache>
                <c:formatCode>General</c:formatCode>
                <c:ptCount val="8"/>
                <c:pt idx="0">
                  <c:v>243.9</c:v>
                </c:pt>
                <c:pt idx="1">
                  <c:v>2</c:v>
                </c:pt>
                <c:pt idx="2">
                  <c:v>5.9</c:v>
                </c:pt>
                <c:pt idx="3">
                  <c:v>0</c:v>
                </c:pt>
                <c:pt idx="4">
                  <c:v>3.9</c:v>
                </c:pt>
                <c:pt idx="5">
                  <c:v>0</c:v>
                </c:pt>
                <c:pt idx="6">
                  <c:v>2.6</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9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25E-4F49-A43D-8297B92CB848}"/>
                </c:ext>
              </c:extLst>
            </c:dLbl>
            <c:dLbl>
              <c:idx val="1"/>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25E-4F49-A43D-8297B92CB848}"/>
                </c:ext>
              </c:extLst>
            </c:dLbl>
            <c:dLbl>
              <c:idx val="2"/>
              <c:tx>
                <c:rich>
                  <a:bodyPr/>
                  <a:lstStyle/>
                  <a:p>
                    <a:r>
                      <a:t>109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25E-4F49-A43D-8297B92CB848}"/>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25E-4F49-A43D-8297B92CB848}"/>
                </c:ext>
              </c:extLst>
            </c:dLbl>
            <c:dLbl>
              <c:idx val="4"/>
              <c:tx>
                <c:rich>
                  <a:bodyPr/>
                  <a:lstStyle/>
                  <a:p>
                    <a:r>
                      <a:t>55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25E-4F49-A43D-8297B92CB84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25E-4F49-A43D-8297B92CB848}"/>
                </c:ext>
              </c:extLst>
            </c:dLbl>
            <c:dLbl>
              <c:idx val="6"/>
              <c:tx>
                <c:rich>
                  <a:bodyPr/>
                  <a:lstStyle/>
                  <a:p>
                    <a:r>
                      <a:t>602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25E-4F49-A43D-8297B92CB84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25E-4F49-A43D-8297B92CB84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D$2:$D$9</c:f>
              <c:numCache>
                <c:formatCode>General</c:formatCode>
                <c:ptCount val="8"/>
                <c:pt idx="0">
                  <c:v>1598.7659000000001</c:v>
                </c:pt>
                <c:pt idx="1">
                  <c:v>4326.9489999999996</c:v>
                </c:pt>
                <c:pt idx="2">
                  <c:v>1094.9781</c:v>
                </c:pt>
                <c:pt idx="3">
                  <c:v>0</c:v>
                </c:pt>
                <c:pt idx="4">
                  <c:v>558.18629999999996</c:v>
                </c:pt>
                <c:pt idx="5">
                  <c:v>0</c:v>
                </c:pt>
                <c:pt idx="6">
                  <c:v>6026.638399999999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FFB-4EA7-A2DF-6BFDF00BF850}"/>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C$2:$C$7</c:f>
              <c:numCache>
                <c:formatCode>General</c:formatCode>
                <c:ptCount val="6"/>
                <c:pt idx="0">
                  <c:v>180.1</c:v>
                </c:pt>
                <c:pt idx="1">
                  <c:v>1.5</c:v>
                </c:pt>
                <c:pt idx="2">
                  <c:v>4</c:v>
                </c:pt>
                <c:pt idx="3">
                  <c:v>0</c:v>
                </c:pt>
                <c:pt idx="4">
                  <c:v>3</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7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FFB-4EA7-A2DF-6BFDF00BF850}"/>
                </c:ext>
              </c:extLst>
            </c:dLbl>
            <c:dLbl>
              <c:idx val="1"/>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FFB-4EA7-A2DF-6BFDF00BF850}"/>
                </c:ext>
              </c:extLst>
            </c:dLbl>
            <c:dLbl>
              <c:idx val="2"/>
              <c:tx>
                <c:rich>
                  <a:bodyPr/>
                  <a:lstStyle/>
                  <a:p>
                    <a:r>
                      <a:t>114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FFB-4EA7-A2DF-6BFDF00BF85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FFB-4EA7-A2DF-6BFDF00BF850}"/>
                </c:ext>
              </c:extLst>
            </c:dLbl>
            <c:dLbl>
              <c:idx val="4"/>
              <c:tx>
                <c:rich>
                  <a:bodyPr/>
                  <a:lstStyle/>
                  <a:p>
                    <a:r>
                      <a:t>580.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FFB-4EA7-A2DF-6BFDF00BF85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FFB-4EA7-A2DF-6BFDF00BF85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D$2:$D$7</c:f>
              <c:numCache>
                <c:formatCode>General</c:formatCode>
                <c:ptCount val="6"/>
                <c:pt idx="0">
                  <c:v>1573.0021999999999</c:v>
                </c:pt>
                <c:pt idx="1">
                  <c:v>4326.4348</c:v>
                </c:pt>
                <c:pt idx="2">
                  <c:v>1142.4345000000001</c:v>
                </c:pt>
                <c:pt idx="3">
                  <c:v>0</c:v>
                </c:pt>
                <c:pt idx="4">
                  <c:v>580.66570000000002</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F27-4773-BB33-E752831C04C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419.7</c:v>
                </c:pt>
                <c:pt idx="1">
                  <c:v>245.7</c:v>
                </c:pt>
                <c:pt idx="2">
                  <c:v>139.69999999999999</c:v>
                </c:pt>
                <c:pt idx="3">
                  <c:v>0.5</c:v>
                </c:pt>
                <c:pt idx="4">
                  <c:v>32.5</c:v>
                </c:pt>
                <c:pt idx="5">
                  <c:v>13.3</c:v>
                </c:pt>
                <c:pt idx="6">
                  <c:v>24.9</c:v>
                </c:pt>
                <c:pt idx="7">
                  <c:v>9.30000000000000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F27-4773-BB33-E752831C04C2}"/>
                </c:ext>
              </c:extLst>
            </c:dLbl>
            <c:dLbl>
              <c:idx val="1"/>
              <c:tx>
                <c:rich>
                  <a:bodyPr/>
                  <a:lstStyle/>
                  <a:p>
                    <a:r>
                      <a:t>1214.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F27-4773-BB33-E752831C04C2}"/>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F27-4773-BB33-E752831C04C2}"/>
                </c:ext>
              </c:extLst>
            </c:dLbl>
            <c:dLbl>
              <c:idx val="3"/>
              <c:tx>
                <c:rich>
                  <a:bodyPr/>
                  <a:lstStyle/>
                  <a:p>
                    <a:r>
                      <a:t>589.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F27-4773-BB33-E752831C04C2}"/>
                </c:ext>
              </c:extLst>
            </c:dLbl>
            <c:dLbl>
              <c:idx val="4"/>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F27-4773-BB33-E752831C04C2}"/>
                </c:ext>
              </c:extLst>
            </c:dLbl>
            <c:dLbl>
              <c:idx val="5"/>
              <c:tx>
                <c:rich>
                  <a:bodyPr/>
                  <a:lstStyle/>
                  <a:p>
                    <a:r>
                      <a:t>11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F27-4773-BB33-E752831C04C2}"/>
                </c:ext>
              </c:extLst>
            </c:dLbl>
            <c:dLbl>
              <c:idx val="6"/>
              <c:tx>
                <c:rich>
                  <a:bodyPr/>
                  <a:lstStyle/>
                  <a:p>
                    <a:r>
                      <a:t>57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F27-4773-BB33-E752831C04C2}"/>
                </c:ext>
              </c:extLst>
            </c:dLbl>
            <c:dLbl>
              <c:idx val="7"/>
              <c:tx>
                <c:rich>
                  <a:bodyPr/>
                  <a:lstStyle/>
                  <a:p>
                    <a:r>
                      <a:t>6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F27-4773-BB33-E752831C04C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88.7191</c:v>
                </c:pt>
                <c:pt idx="1">
                  <c:v>1214.0429999999999</c:v>
                </c:pt>
                <c:pt idx="2">
                  <c:v>1129.5237999999999</c:v>
                </c:pt>
                <c:pt idx="3">
                  <c:v>589.35220000000004</c:v>
                </c:pt>
                <c:pt idx="4">
                  <c:v>1116.2927</c:v>
                </c:pt>
                <c:pt idx="5">
                  <c:v>1122.9222</c:v>
                </c:pt>
                <c:pt idx="6">
                  <c:v>576.52139999999997</c:v>
                </c:pt>
                <c:pt idx="7">
                  <c:v>675.8157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E58-473A-958B-A78574E2353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309</c:v>
                </c:pt>
                <c:pt idx="1">
                  <c:v>54.1</c:v>
                </c:pt>
                <c:pt idx="2">
                  <c:v>27.7</c:v>
                </c:pt>
                <c:pt idx="3">
                  <c:v>0.2</c:v>
                </c:pt>
                <c:pt idx="4">
                  <c:v>5.9</c:v>
                </c:pt>
                <c:pt idx="5">
                  <c:v>2.2999999999999998</c:v>
                </c:pt>
                <c:pt idx="6">
                  <c:v>4.4000000000000004</c:v>
                </c:pt>
                <c:pt idx="7">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2E58-473A-958B-A78574E2353C}"/>
                </c:ext>
              </c:extLst>
            </c:dLbl>
            <c:dLbl>
              <c:idx val="1"/>
              <c:tx>
                <c:rich>
                  <a:bodyPr/>
                  <a:lstStyle/>
                  <a:p>
                    <a:r>
                      <a:t>122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2E58-473A-958B-A78574E2353C}"/>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E58-473A-958B-A78574E2353C}"/>
                </c:ext>
              </c:extLst>
            </c:dLbl>
            <c:dLbl>
              <c:idx val="3"/>
              <c:tx>
                <c:rich>
                  <a:bodyPr/>
                  <a:lstStyle/>
                  <a:p>
                    <a:r>
                      <a:t>5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E58-473A-958B-A78574E2353C}"/>
                </c:ext>
              </c:extLst>
            </c:dLbl>
            <c:dLbl>
              <c:idx val="4"/>
              <c:tx>
                <c:rich>
                  <a:bodyPr/>
                  <a:lstStyle/>
                  <a:p>
                    <a:r>
                      <a:t>107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E58-473A-958B-A78574E2353C}"/>
                </c:ext>
              </c:extLst>
            </c:dLbl>
            <c:dLbl>
              <c:idx val="5"/>
              <c:tx>
                <c:rich>
                  <a:bodyPr/>
                  <a:lstStyle/>
                  <a:p>
                    <a:r>
                      <a:t>1162.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E58-473A-958B-A78574E2353C}"/>
                </c:ext>
              </c:extLst>
            </c:dLbl>
            <c:dLbl>
              <c:idx val="6"/>
              <c:tx>
                <c:rich>
                  <a:bodyPr/>
                  <a:lstStyle/>
                  <a:p>
                    <a:r>
                      <a:t>54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E58-473A-958B-A78574E2353C}"/>
                </c:ext>
              </c:extLst>
            </c:dLbl>
            <c:dLbl>
              <c:idx val="7"/>
              <c:tx>
                <c:rich>
                  <a:bodyPr/>
                  <a:lstStyle/>
                  <a:p>
                    <a:r>
                      <a:t>71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E58-473A-958B-A78574E2353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720.6778999999999</c:v>
                </c:pt>
                <c:pt idx="1">
                  <c:v>1221.0676000000001</c:v>
                </c:pt>
                <c:pt idx="2">
                  <c:v>1113.2074</c:v>
                </c:pt>
                <c:pt idx="3">
                  <c:v>584.09810000000004</c:v>
                </c:pt>
                <c:pt idx="4">
                  <c:v>1077.7547999999999</c:v>
                </c:pt>
                <c:pt idx="5">
                  <c:v>1162.1727000000001</c:v>
                </c:pt>
                <c:pt idx="6">
                  <c:v>544.44010000000003</c:v>
                </c:pt>
                <c:pt idx="7">
                  <c:v>716.04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5918-4AFD-B5E6-3E2DECBE54B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Sunscreen | O.O.S</c:v>
                  </c:pt>
                  <c:pt idx="6">
                    <c:v>Tanning Adults</c:v>
                  </c:pt>
                </c:lvl>
              </c:multiLvlStrCache>
            </c:multiLvlStrRef>
          </c:cat>
          <c:val>
            <c:numRef>
              <c:f>Sheet1!$C$2:$C$9</c:f>
              <c:numCache>
                <c:formatCode>General</c:formatCode>
                <c:ptCount val="8"/>
                <c:pt idx="0">
                  <c:v>268.60000000000002</c:v>
                </c:pt>
                <c:pt idx="1">
                  <c:v>32.200000000000003</c:v>
                </c:pt>
                <c:pt idx="2">
                  <c:v>21.6</c:v>
                </c:pt>
                <c:pt idx="3">
                  <c:v>0</c:v>
                </c:pt>
                <c:pt idx="4">
                  <c:v>9.3000000000000007</c:v>
                </c:pt>
                <c:pt idx="5">
                  <c:v>0</c:v>
                </c:pt>
                <c:pt idx="6">
                  <c:v>3.1</c:v>
                </c:pt>
                <c:pt idx="7">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918-4AFD-B5E6-3E2DECBE54B1}"/>
                </c:ext>
              </c:extLst>
            </c:dLbl>
            <c:dLbl>
              <c:idx val="1"/>
              <c:tx>
                <c:rich>
                  <a:bodyPr/>
                  <a:lstStyle/>
                  <a:p>
                    <a:r>
                      <a:t>11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918-4AFD-B5E6-3E2DECBE54B1}"/>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918-4AFD-B5E6-3E2DECBE54B1}"/>
                </c:ext>
              </c:extLst>
            </c:dLbl>
            <c:dLbl>
              <c:idx val="3"/>
              <c:tx>
                <c:rich>
                  <a:bodyPr/>
                  <a:lstStyle/>
                  <a:p>
                    <a:r>
                      <a:t>720.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918-4AFD-B5E6-3E2DECBE54B1}"/>
                </c:ext>
              </c:extLst>
            </c:dLbl>
            <c:dLbl>
              <c:idx val="4"/>
              <c:tx>
                <c:rich>
                  <a:bodyPr/>
                  <a:lstStyle/>
                  <a:p>
                    <a:r>
                      <a:t>998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918-4AFD-B5E6-3E2DECBE54B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918-4AFD-B5E6-3E2DECBE54B1}"/>
                </c:ext>
              </c:extLst>
            </c:dLbl>
            <c:dLbl>
              <c:idx val="6"/>
              <c:tx>
                <c:rich>
                  <a:bodyPr/>
                  <a:lstStyle/>
                  <a:p>
                    <a:r>
                      <a:t>1055.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918-4AFD-B5E6-3E2DECBE54B1}"/>
                </c:ext>
              </c:extLst>
            </c:dLbl>
            <c:dLbl>
              <c:idx val="7"/>
              <c:tx>
                <c:rich>
                  <a:bodyPr/>
                  <a:lstStyle/>
                  <a:p>
                    <a:r>
                      <a:t>1010.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918-4AFD-B5E6-3E2DECBE54B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Sunscreen | O.O.S</c:v>
                  </c:pt>
                  <c:pt idx="6">
                    <c:v>Tanning Adults</c:v>
                  </c:pt>
                </c:lvl>
              </c:multiLvlStrCache>
            </c:multiLvlStrRef>
          </c:cat>
          <c:val>
            <c:numRef>
              <c:f>Sheet1!$D$2:$D$9</c:f>
              <c:numCache>
                <c:formatCode>General</c:formatCode>
                <c:ptCount val="8"/>
                <c:pt idx="0">
                  <c:v>2092.9344000000001</c:v>
                </c:pt>
                <c:pt idx="1">
                  <c:v>1178.1282000000001</c:v>
                </c:pt>
                <c:pt idx="2">
                  <c:v>1168.932</c:v>
                </c:pt>
                <c:pt idx="3">
                  <c:v>720.61900000000003</c:v>
                </c:pt>
                <c:pt idx="4">
                  <c:v>9981.3312000000005</c:v>
                </c:pt>
                <c:pt idx="5">
                  <c:v>0</c:v>
                </c:pt>
                <c:pt idx="6">
                  <c:v>1055.4155000000001</c:v>
                </c:pt>
                <c:pt idx="7">
                  <c:v>1010.1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E441-4855-BE8A-99FA7476DCC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30.2</c:v>
                </c:pt>
                <c:pt idx="1">
                  <c:v>45.8</c:v>
                </c:pt>
                <c:pt idx="2">
                  <c:v>26.1</c:v>
                </c:pt>
                <c:pt idx="3">
                  <c:v>0.1</c:v>
                </c:pt>
                <c:pt idx="4">
                  <c:v>8.3000000000000007</c:v>
                </c:pt>
                <c:pt idx="5">
                  <c:v>3</c:v>
                </c:pt>
                <c:pt idx="6">
                  <c:v>8.1999999999999993</c:v>
                </c:pt>
                <c:pt idx="7">
                  <c:v>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441-4855-BE8A-99FA7476DCCA}"/>
                </c:ext>
              </c:extLst>
            </c:dLbl>
            <c:dLbl>
              <c:idx val="1"/>
              <c:tx>
                <c:rich>
                  <a:bodyPr/>
                  <a:lstStyle/>
                  <a:p>
                    <a:r>
                      <a:t>1179.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441-4855-BE8A-99FA7476DCCA}"/>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441-4855-BE8A-99FA7476DCCA}"/>
                </c:ext>
              </c:extLst>
            </c:dLbl>
            <c:dLbl>
              <c:idx val="3"/>
              <c:tx>
                <c:rich>
                  <a:bodyPr/>
                  <a:lstStyle/>
                  <a:p>
                    <a:r>
                      <a:t>547.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441-4855-BE8A-99FA7476DCCA}"/>
                </c:ext>
              </c:extLst>
            </c:dLbl>
            <c:dLbl>
              <c:idx val="4"/>
              <c:tx>
                <c:rich>
                  <a:bodyPr/>
                  <a:lstStyle/>
                  <a:p>
                    <a:r>
                      <a:t>11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441-4855-BE8A-99FA7476DCCA}"/>
                </c:ext>
              </c:extLst>
            </c:dLbl>
            <c:dLbl>
              <c:idx val="5"/>
              <c:tx>
                <c:rich>
                  <a:bodyPr/>
                  <a:lstStyle/>
                  <a:p>
                    <a:r>
                      <a:t>1135.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441-4855-BE8A-99FA7476DCCA}"/>
                </c:ext>
              </c:extLst>
            </c:dLbl>
            <c:dLbl>
              <c:idx val="6"/>
              <c:tx>
                <c:rich>
                  <a:bodyPr/>
                  <a:lstStyle/>
                  <a:p>
                    <a:r>
                      <a:t>63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441-4855-BE8A-99FA7476DCCA}"/>
                </c:ext>
              </c:extLst>
            </c:dLbl>
            <c:dLbl>
              <c:idx val="7"/>
              <c:tx>
                <c:rich>
                  <a:bodyPr/>
                  <a:lstStyle/>
                  <a:p>
                    <a:r>
                      <a:t>627.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441-4855-BE8A-99FA7476DCC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426.1102000000001</c:v>
                </c:pt>
                <c:pt idx="1">
                  <c:v>1179.6786999999999</c:v>
                </c:pt>
                <c:pt idx="2">
                  <c:v>1066.3696</c:v>
                </c:pt>
                <c:pt idx="3">
                  <c:v>547.91790000000003</c:v>
                </c:pt>
                <c:pt idx="4">
                  <c:v>1175.4740999999999</c:v>
                </c:pt>
                <c:pt idx="5">
                  <c:v>1135.2434000000001</c:v>
                </c:pt>
                <c:pt idx="6">
                  <c:v>631.1431</c:v>
                </c:pt>
                <c:pt idx="7">
                  <c:v>627.8382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9BD7-4EDA-B794-B9529B0FCAF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29.5</c:v>
                </c:pt>
                <c:pt idx="1">
                  <c:v>38.5</c:v>
                </c:pt>
                <c:pt idx="2">
                  <c:v>24.6</c:v>
                </c:pt>
                <c:pt idx="3">
                  <c:v>0.1</c:v>
                </c:pt>
                <c:pt idx="4">
                  <c:v>5.3</c:v>
                </c:pt>
                <c:pt idx="5">
                  <c:v>2.4</c:v>
                </c:pt>
                <c:pt idx="6">
                  <c:v>3.3</c:v>
                </c:pt>
                <c:pt idx="7">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BD7-4EDA-B794-B9529B0FCAF7}"/>
                </c:ext>
              </c:extLst>
            </c:dLbl>
            <c:dLbl>
              <c:idx val="1"/>
              <c:tx>
                <c:rich>
                  <a:bodyPr/>
                  <a:lstStyle/>
                  <a:p>
                    <a:r>
                      <a:t>120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BD7-4EDA-B794-B9529B0FCAF7}"/>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BD7-4EDA-B794-B9529B0FCAF7}"/>
                </c:ext>
              </c:extLst>
            </c:dLbl>
            <c:dLbl>
              <c:idx val="3"/>
              <c:tx>
                <c:rich>
                  <a:bodyPr/>
                  <a:lstStyle/>
                  <a:p>
                    <a:r>
                      <a:t>59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BD7-4EDA-B794-B9529B0FCAF7}"/>
                </c:ext>
              </c:extLst>
            </c:dLbl>
            <c:dLbl>
              <c:idx val="4"/>
              <c:tx>
                <c:rich>
                  <a:bodyPr/>
                  <a:lstStyle/>
                  <a:p>
                    <a:r>
                      <a:t>11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BD7-4EDA-B794-B9529B0FCAF7}"/>
                </c:ext>
              </c:extLst>
            </c:dLbl>
            <c:dLbl>
              <c:idx val="5"/>
              <c:tx>
                <c:rich>
                  <a:bodyPr/>
                  <a:lstStyle/>
                  <a:p>
                    <a:r>
                      <a:t>11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BD7-4EDA-B794-B9529B0FCAF7}"/>
                </c:ext>
              </c:extLst>
            </c:dLbl>
            <c:dLbl>
              <c:idx val="6"/>
              <c:tx>
                <c:rich>
                  <a:bodyPr/>
                  <a:lstStyle/>
                  <a:p>
                    <a:r>
                      <a:t>56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BD7-4EDA-B794-B9529B0FCAF7}"/>
                </c:ext>
              </c:extLst>
            </c:dLbl>
            <c:dLbl>
              <c:idx val="7"/>
              <c:tx>
                <c:rich>
                  <a:bodyPr/>
                  <a:lstStyle/>
                  <a:p>
                    <a:r>
                      <a:t>70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BD7-4EDA-B794-B9529B0FCAF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50.2655999999999</c:v>
                </c:pt>
                <c:pt idx="1">
                  <c:v>1201.8362</c:v>
                </c:pt>
                <c:pt idx="2">
                  <c:v>1119.7040999999999</c:v>
                </c:pt>
                <c:pt idx="3">
                  <c:v>594.5136</c:v>
                </c:pt>
                <c:pt idx="4">
                  <c:v>1114.8275000000001</c:v>
                </c:pt>
                <c:pt idx="5">
                  <c:v>1110.5969</c:v>
                </c:pt>
                <c:pt idx="6">
                  <c:v>560.45460000000003</c:v>
                </c:pt>
                <c:pt idx="7">
                  <c:v>706.3641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E96F-4F6B-8C12-04C0538D9AD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19.5</c:v>
                </c:pt>
                <c:pt idx="1">
                  <c:v>43.5</c:v>
                </c:pt>
                <c:pt idx="2">
                  <c:v>23.2</c:v>
                </c:pt>
                <c:pt idx="3">
                  <c:v>0.1</c:v>
                </c:pt>
                <c:pt idx="4">
                  <c:v>5.9</c:v>
                </c:pt>
                <c:pt idx="5">
                  <c:v>2.7</c:v>
                </c:pt>
                <c:pt idx="6">
                  <c:v>3.9</c:v>
                </c:pt>
                <c:pt idx="7">
                  <c:v>1.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96F-4F6B-8C12-04C0538D9AD9}"/>
                </c:ext>
              </c:extLst>
            </c:dLbl>
            <c:dLbl>
              <c:idx val="1"/>
              <c:tx>
                <c:rich>
                  <a:bodyPr/>
                  <a:lstStyle/>
                  <a:p>
                    <a:r>
                      <a:t>1250.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96F-4F6B-8C12-04C0538D9AD9}"/>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96F-4F6B-8C12-04C0538D9AD9}"/>
                </c:ext>
              </c:extLst>
            </c:dLbl>
            <c:dLbl>
              <c:idx val="3"/>
              <c:tx>
                <c:rich>
                  <a:bodyPr/>
                  <a:lstStyle/>
                  <a:p>
                    <a:r>
                      <a:t>645.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96F-4F6B-8C12-04C0538D9AD9}"/>
                </c:ext>
              </c:extLst>
            </c:dLbl>
            <c:dLbl>
              <c:idx val="4"/>
              <c:tx>
                <c:rich>
                  <a:bodyPr/>
                  <a:lstStyle/>
                  <a:p>
                    <a:r>
                      <a:t>109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96F-4F6B-8C12-04C0538D9AD9}"/>
                </c:ext>
              </c:extLst>
            </c:dLbl>
            <c:dLbl>
              <c:idx val="5"/>
              <c:tx>
                <c:rich>
                  <a:bodyPr/>
                  <a:lstStyle/>
                  <a:p>
                    <a:r>
                      <a:t>114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96F-4F6B-8C12-04C0538D9AD9}"/>
                </c:ext>
              </c:extLst>
            </c:dLbl>
            <c:dLbl>
              <c:idx val="6"/>
              <c:tx>
                <c:rich>
                  <a:bodyPr/>
                  <a:lstStyle/>
                  <a:p>
                    <a:r>
                      <a:t>55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96F-4F6B-8C12-04C0538D9AD9}"/>
                </c:ext>
              </c:extLst>
            </c:dLbl>
            <c:dLbl>
              <c:idx val="7"/>
              <c:tx>
                <c:rich>
                  <a:bodyPr/>
                  <a:lstStyle/>
                  <a:p>
                    <a:r>
                      <a:t>70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96F-4F6B-8C12-04C0538D9AD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65.943</c:v>
                </c:pt>
                <c:pt idx="1">
                  <c:v>1250.125</c:v>
                </c:pt>
                <c:pt idx="2">
                  <c:v>1145.3687</c:v>
                </c:pt>
                <c:pt idx="3">
                  <c:v>645.625</c:v>
                </c:pt>
                <c:pt idx="4">
                  <c:v>1094.9781</c:v>
                </c:pt>
                <c:pt idx="5">
                  <c:v>1141.9157</c:v>
                </c:pt>
                <c:pt idx="6">
                  <c:v>556.78269999999998</c:v>
                </c:pt>
                <c:pt idx="7">
                  <c:v>705.3218000000000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D031-44EE-99F8-3B628743675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62.9</c:v>
                </c:pt>
                <c:pt idx="1">
                  <c:v>31.6</c:v>
                </c:pt>
                <c:pt idx="2">
                  <c:v>16.5</c:v>
                </c:pt>
                <c:pt idx="3">
                  <c:v>0</c:v>
                </c:pt>
                <c:pt idx="4">
                  <c:v>4</c:v>
                </c:pt>
                <c:pt idx="5">
                  <c:v>1.7</c:v>
                </c:pt>
                <c:pt idx="6">
                  <c:v>3</c:v>
                </c:pt>
                <c:pt idx="7">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031-44EE-99F8-3B6287436756}"/>
                </c:ext>
              </c:extLst>
            </c:dLbl>
            <c:dLbl>
              <c:idx val="1"/>
              <c:tx>
                <c:rich>
                  <a:bodyPr/>
                  <a:lstStyle/>
                  <a:p>
                    <a:r>
                      <a:t>125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031-44EE-99F8-3B6287436756}"/>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031-44EE-99F8-3B6287436756}"/>
                </c:ext>
              </c:extLst>
            </c:dLbl>
            <c:dLbl>
              <c:idx val="3"/>
              <c:tx>
                <c:rich>
                  <a:bodyPr/>
                  <a:lstStyle/>
                  <a:p>
                    <a:r>
                      <a:t>53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031-44EE-99F8-3B6287436756}"/>
                </c:ext>
              </c:extLst>
            </c:dLbl>
            <c:dLbl>
              <c:idx val="4"/>
              <c:tx>
                <c:rich>
                  <a:bodyPr/>
                  <a:lstStyle/>
                  <a:p>
                    <a:r>
                      <a:t>114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031-44EE-99F8-3B6287436756}"/>
                </c:ext>
              </c:extLst>
            </c:dLbl>
            <c:dLbl>
              <c:idx val="5"/>
              <c:tx>
                <c:rich>
                  <a:bodyPr/>
                  <a:lstStyle/>
                  <a:p>
                    <a:r>
                      <a:t>11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031-44EE-99F8-3B6287436756}"/>
                </c:ext>
              </c:extLst>
            </c:dLbl>
            <c:dLbl>
              <c:idx val="6"/>
              <c:tx>
                <c:rich>
                  <a:bodyPr/>
                  <a:lstStyle/>
                  <a:p>
                    <a:r>
                      <a:t>579.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031-44EE-99F8-3B6287436756}"/>
                </c:ext>
              </c:extLst>
            </c:dLbl>
            <c:dLbl>
              <c:idx val="7"/>
              <c:tx>
                <c:rich>
                  <a:bodyPr/>
                  <a:lstStyle/>
                  <a:p>
                    <a:r>
                      <a:t>710.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031-44EE-99F8-3B628743675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20.3788</c:v>
                </c:pt>
                <c:pt idx="1">
                  <c:v>1259.5282999999999</c:v>
                </c:pt>
                <c:pt idx="2">
                  <c:v>1211.6323</c:v>
                </c:pt>
                <c:pt idx="3">
                  <c:v>533.25300000000004</c:v>
                </c:pt>
                <c:pt idx="4">
                  <c:v>1142.4345000000001</c:v>
                </c:pt>
                <c:pt idx="5">
                  <c:v>1129.7965999999999</c:v>
                </c:pt>
                <c:pt idx="6">
                  <c:v>579.33040000000005</c:v>
                </c:pt>
                <c:pt idx="7">
                  <c:v>710.3188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4A80-4899-BB00-3E54DF5F481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419.7</c:v>
                </c:pt>
                <c:pt idx="1">
                  <c:v>163.5</c:v>
                </c:pt>
                <c:pt idx="2">
                  <c:v>139.69999999999999</c:v>
                </c:pt>
                <c:pt idx="3">
                  <c:v>40.4</c:v>
                </c:pt>
                <c:pt idx="4">
                  <c:v>32.5</c:v>
                </c:pt>
                <c:pt idx="5">
                  <c:v>2.8</c:v>
                </c:pt>
                <c:pt idx="6">
                  <c:v>24.9</c:v>
                </c:pt>
                <c:pt idx="7">
                  <c:v>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4A80-4899-BB00-3E54DF5F4811}"/>
                </c:ext>
              </c:extLst>
            </c:dLbl>
            <c:dLbl>
              <c:idx val="1"/>
              <c:tx>
                <c:rich>
                  <a:bodyPr/>
                  <a:lstStyle/>
                  <a:p>
                    <a:r>
                      <a:t>121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4A80-4899-BB00-3E54DF5F4811}"/>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A80-4899-BB00-3E54DF5F4811}"/>
                </c:ext>
              </c:extLst>
            </c:dLbl>
            <c:dLbl>
              <c:idx val="3"/>
              <c:tx>
                <c:rich>
                  <a:bodyPr/>
                  <a:lstStyle/>
                  <a:p>
                    <a:r>
                      <a:t>1218.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A80-4899-BB00-3E54DF5F4811}"/>
                </c:ext>
              </c:extLst>
            </c:dLbl>
            <c:dLbl>
              <c:idx val="4"/>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A80-4899-BB00-3E54DF5F4811}"/>
                </c:ext>
              </c:extLst>
            </c:dLbl>
            <c:dLbl>
              <c:idx val="5"/>
              <c:tx>
                <c:rich>
                  <a:bodyPr/>
                  <a:lstStyle/>
                  <a:p>
                    <a:r>
                      <a:t>93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A80-4899-BB00-3E54DF5F4811}"/>
                </c:ext>
              </c:extLst>
            </c:dLbl>
            <c:dLbl>
              <c:idx val="6"/>
              <c:tx>
                <c:rich>
                  <a:bodyPr/>
                  <a:lstStyle/>
                  <a:p>
                    <a:r>
                      <a:t>57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A80-4899-BB00-3E54DF5F4811}"/>
                </c:ext>
              </c:extLst>
            </c:dLbl>
            <c:dLbl>
              <c:idx val="7"/>
              <c:tx>
                <c:rich>
                  <a:bodyPr/>
                  <a:lstStyle/>
                  <a:p>
                    <a:r>
                      <a:t>43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A80-4899-BB00-3E54DF5F481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88.7191</c:v>
                </c:pt>
                <c:pt idx="1">
                  <c:v>1214.0245</c:v>
                </c:pt>
                <c:pt idx="2">
                  <c:v>1129.5237999999999</c:v>
                </c:pt>
                <c:pt idx="3">
                  <c:v>1218.6849999999999</c:v>
                </c:pt>
                <c:pt idx="4">
                  <c:v>1116.2927</c:v>
                </c:pt>
                <c:pt idx="5">
                  <c:v>932.18669999999997</c:v>
                </c:pt>
                <c:pt idx="6">
                  <c:v>576.52139999999997</c:v>
                </c:pt>
                <c:pt idx="7">
                  <c:v>439.6945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E217A7-1B90-4D69-B61F-63F32DEFF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2DBBD9-FFCE-43DA-BC22-DDC24DC62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52B572-D573-4309-97EA-2552C74E2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8CA94E-CEB8-49D5-9237-1FB954329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9FA1F9-FF1E-41DE-9FDE-8D4955E86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38ED02-3E5A-4901-9B31-680CF147C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C1B156-7104-4CAC-BF99-E08A8C308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3CEBFB-C8AB-4750-85AC-3EF18E839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32640000000001</c:v>
                </c:pt>
                <c:pt idx="1">
                  <c:v>221.75829999999999</c:v>
                </c:pt>
                <c:pt idx="2">
                  <c:v>233.3937</c:v>
                </c:pt>
                <c:pt idx="3">
                  <c:v>282.05270000000002</c:v>
                </c:pt>
                <c:pt idx="4">
                  <c:v>89.042100000000005</c:v>
                </c:pt>
                <c:pt idx="5">
                  <c:v>602.82489999999996</c:v>
                </c:pt>
                <c:pt idx="6">
                  <c:v>73.962599999999995</c:v>
                </c:pt>
                <c:pt idx="7">
                  <c:v>156.0933</c:v>
                </c:pt>
              </c:numCache>
            </c:numRef>
          </c:xVal>
          <c:yVal>
            <c:numRef>
              <c:f>Sheet1!$B$2:$B$9</c:f>
              <c:numCache>
                <c:formatCode>General</c:formatCode>
                <c:ptCount val="8"/>
                <c:pt idx="0">
                  <c:v>1.109</c:v>
                </c:pt>
                <c:pt idx="1">
                  <c:v>0.82699999999999996</c:v>
                </c:pt>
                <c:pt idx="2">
                  <c:v>0.85899999999999999</c:v>
                </c:pt>
                <c:pt idx="3">
                  <c:v>2.0169999999999999</c:v>
                </c:pt>
                <c:pt idx="4">
                  <c:v>0.47599999999999998</c:v>
                </c:pt>
                <c:pt idx="5">
                  <c:v>4.6440000000000001</c:v>
                </c:pt>
                <c:pt idx="6">
                  <c:v>0.433</c:v>
                </c:pt>
                <c:pt idx="7">
                  <c:v>2.1760000000000002</c:v>
                </c:pt>
              </c:numCache>
            </c:numRef>
          </c:yVal>
          <c:bubbleSize>
            <c:numRef>
              <c:f>Sheet1!$C$2:$C$9</c:f>
              <c:numCache>
                <c:formatCode>General</c:formatCode>
                <c:ptCount val="8"/>
                <c:pt idx="0">
                  <c:v>94584130</c:v>
                </c:pt>
                <c:pt idx="1">
                  <c:v>45779791</c:v>
                </c:pt>
                <c:pt idx="2">
                  <c:v>27044258</c:v>
                </c:pt>
                <c:pt idx="3">
                  <c:v>13126731</c:v>
                </c:pt>
                <c:pt idx="4">
                  <c:v>8014855</c:v>
                </c:pt>
                <c:pt idx="5">
                  <c:v>3622375</c:v>
                </c:pt>
                <c:pt idx="6">
                  <c:v>2439508</c:v>
                </c:pt>
                <c:pt idx="7">
                  <c:v>223447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Caribbean Beach</c:v>
                  </c:pt>
                  <c:pt idx="5">
                    <c:v>Isdin</c:v>
                  </c:pt>
                  <c:pt idx="6">
                    <c:v>Nuve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3"/>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14D-4EC3-9764-548B924B789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309</c:v>
                </c:pt>
                <c:pt idx="1">
                  <c:v>32.1</c:v>
                </c:pt>
                <c:pt idx="2">
                  <c:v>27.7</c:v>
                </c:pt>
                <c:pt idx="3">
                  <c:v>7.3</c:v>
                </c:pt>
                <c:pt idx="4">
                  <c:v>5.9</c:v>
                </c:pt>
                <c:pt idx="5">
                  <c:v>0.6</c:v>
                </c:pt>
                <c:pt idx="6">
                  <c:v>4.4000000000000004</c:v>
                </c:pt>
                <c:pt idx="7">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14D-4EC3-9764-548B924B7898}"/>
                </c:ext>
              </c:extLst>
            </c:dLbl>
            <c:dLbl>
              <c:idx val="1"/>
              <c:tx>
                <c:rich>
                  <a:bodyPr/>
                  <a:lstStyle/>
                  <a:p>
                    <a:r>
                      <a:t>117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14D-4EC3-9764-548B924B7898}"/>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14D-4EC3-9764-548B924B7898}"/>
                </c:ext>
              </c:extLst>
            </c:dLbl>
            <c:dLbl>
              <c:idx val="3"/>
              <c:tx>
                <c:rich>
                  <a:bodyPr/>
                  <a:lstStyle/>
                  <a:p>
                    <a:r>
                      <a:t>12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14D-4EC3-9764-548B924B7898}"/>
                </c:ext>
              </c:extLst>
            </c:dLbl>
            <c:dLbl>
              <c:idx val="4"/>
              <c:tx>
                <c:rich>
                  <a:bodyPr/>
                  <a:lstStyle/>
                  <a:p>
                    <a:r>
                      <a:t>107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14D-4EC3-9764-548B924B7898}"/>
                </c:ext>
              </c:extLst>
            </c:dLbl>
            <c:dLbl>
              <c:idx val="5"/>
              <c:tx>
                <c:rich>
                  <a:bodyPr/>
                  <a:lstStyle/>
                  <a:p>
                    <a:r>
                      <a:t>925.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14D-4EC3-9764-548B924B7898}"/>
                </c:ext>
              </c:extLst>
            </c:dLbl>
            <c:dLbl>
              <c:idx val="6"/>
              <c:tx>
                <c:rich>
                  <a:bodyPr/>
                  <a:lstStyle/>
                  <a:p>
                    <a:r>
                      <a:t>54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14D-4EC3-9764-548B924B7898}"/>
                </c:ext>
              </c:extLst>
            </c:dLbl>
            <c:dLbl>
              <c:idx val="7"/>
              <c:tx>
                <c:rich>
                  <a:bodyPr/>
                  <a:lstStyle/>
                  <a:p>
                    <a:r>
                      <a:t>43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14D-4EC3-9764-548B924B789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720.6778999999999</c:v>
                </c:pt>
                <c:pt idx="1">
                  <c:v>1172.3556000000001</c:v>
                </c:pt>
                <c:pt idx="2">
                  <c:v>1113.2074</c:v>
                </c:pt>
                <c:pt idx="3">
                  <c:v>1222.9033999999999</c:v>
                </c:pt>
                <c:pt idx="4">
                  <c:v>1077.7547999999999</c:v>
                </c:pt>
                <c:pt idx="5">
                  <c:v>925.3365</c:v>
                </c:pt>
                <c:pt idx="6">
                  <c:v>544.44010000000003</c:v>
                </c:pt>
                <c:pt idx="7">
                  <c:v>431.0600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3005-4DAB-8952-7E4AD4DCD9D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Sunscreen | O.O.S</c:v>
                  </c:pt>
                  <c:pt idx="6">
                    <c:v>Tanning Adults</c:v>
                  </c:pt>
                </c:lvl>
              </c:multiLvlStrCache>
            </c:multiLvlStrRef>
          </c:cat>
          <c:val>
            <c:numRef>
              <c:f>Sheet1!$C$2:$C$9</c:f>
              <c:numCache>
                <c:formatCode>General</c:formatCode>
                <c:ptCount val="8"/>
                <c:pt idx="0">
                  <c:v>268.60000000000002</c:v>
                </c:pt>
                <c:pt idx="1">
                  <c:v>24.7</c:v>
                </c:pt>
                <c:pt idx="2">
                  <c:v>21.6</c:v>
                </c:pt>
                <c:pt idx="3">
                  <c:v>6.3</c:v>
                </c:pt>
                <c:pt idx="4">
                  <c:v>9.3000000000000007</c:v>
                </c:pt>
                <c:pt idx="5">
                  <c:v>0</c:v>
                </c:pt>
                <c:pt idx="6">
                  <c:v>3.1</c:v>
                </c:pt>
                <c:pt idx="7">
                  <c:v>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005-4DAB-8952-7E4AD4DCD9DD}"/>
                </c:ext>
              </c:extLst>
            </c:dLbl>
            <c:dLbl>
              <c:idx val="1"/>
              <c:tx>
                <c:rich>
                  <a:bodyPr/>
                  <a:lstStyle/>
                  <a:p>
                    <a:r>
                      <a:t>117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005-4DAB-8952-7E4AD4DCD9DD}"/>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005-4DAB-8952-7E4AD4DCD9DD}"/>
                </c:ext>
              </c:extLst>
            </c:dLbl>
            <c:dLbl>
              <c:idx val="3"/>
              <c:tx>
                <c:rich>
                  <a:bodyPr/>
                  <a:lstStyle/>
                  <a:p>
                    <a:r>
                      <a:t>1180.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005-4DAB-8952-7E4AD4DCD9DD}"/>
                </c:ext>
              </c:extLst>
            </c:dLbl>
            <c:dLbl>
              <c:idx val="4"/>
              <c:tx>
                <c:rich>
                  <a:bodyPr/>
                  <a:lstStyle/>
                  <a:p>
                    <a:r>
                      <a:t>998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005-4DAB-8952-7E4AD4DCD9D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005-4DAB-8952-7E4AD4DCD9DD}"/>
                </c:ext>
              </c:extLst>
            </c:dLbl>
            <c:dLbl>
              <c:idx val="6"/>
              <c:tx>
                <c:rich>
                  <a:bodyPr/>
                  <a:lstStyle/>
                  <a:p>
                    <a:r>
                      <a:t>1055.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005-4DAB-8952-7E4AD4DCD9DD}"/>
                </c:ext>
              </c:extLst>
            </c:dLbl>
            <c:dLbl>
              <c:idx val="7"/>
              <c:tx>
                <c:rich>
                  <a:bodyPr/>
                  <a:lstStyle/>
                  <a:p>
                    <a:r>
                      <a:t>894.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005-4DAB-8952-7E4AD4DCD9D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Sunscreen | O.O.S</c:v>
                  </c:pt>
                  <c:pt idx="6">
                    <c:v>Tanning Adults</c:v>
                  </c:pt>
                </c:lvl>
              </c:multiLvlStrCache>
            </c:multiLvlStrRef>
          </c:cat>
          <c:val>
            <c:numRef>
              <c:f>Sheet1!$D$2:$D$9</c:f>
              <c:numCache>
                <c:formatCode>General</c:formatCode>
                <c:ptCount val="8"/>
                <c:pt idx="0">
                  <c:v>2092.9344000000001</c:v>
                </c:pt>
                <c:pt idx="1">
                  <c:v>1171.4626000000001</c:v>
                </c:pt>
                <c:pt idx="2">
                  <c:v>1168.932</c:v>
                </c:pt>
                <c:pt idx="3">
                  <c:v>1180.2494999999999</c:v>
                </c:pt>
                <c:pt idx="4">
                  <c:v>9981.3312000000005</c:v>
                </c:pt>
                <c:pt idx="5">
                  <c:v>0</c:v>
                </c:pt>
                <c:pt idx="6">
                  <c:v>1055.4155000000001</c:v>
                </c:pt>
                <c:pt idx="7">
                  <c:v>894.2736999999999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6B0-4FC2-8E3E-D9C6B4CB756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30.2</c:v>
                </c:pt>
                <c:pt idx="1">
                  <c:v>27</c:v>
                </c:pt>
                <c:pt idx="2">
                  <c:v>26.1</c:v>
                </c:pt>
                <c:pt idx="3">
                  <c:v>6.7</c:v>
                </c:pt>
                <c:pt idx="4">
                  <c:v>8.3000000000000007</c:v>
                </c:pt>
                <c:pt idx="5">
                  <c:v>0.3</c:v>
                </c:pt>
                <c:pt idx="6">
                  <c:v>8.1999999999999993</c:v>
                </c:pt>
                <c:pt idx="7">
                  <c:v>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6B0-4FC2-8E3E-D9C6B4CB7568}"/>
                </c:ext>
              </c:extLst>
            </c:dLbl>
            <c:dLbl>
              <c:idx val="1"/>
              <c:tx>
                <c:rich>
                  <a:bodyPr/>
                  <a:lstStyle/>
                  <a:p>
                    <a:r>
                      <a:t>122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6B0-4FC2-8E3E-D9C6B4CB7568}"/>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6B0-4FC2-8E3E-D9C6B4CB7568}"/>
                </c:ext>
              </c:extLst>
            </c:dLbl>
            <c:dLbl>
              <c:idx val="3"/>
              <c:tx>
                <c:rich>
                  <a:bodyPr/>
                  <a:lstStyle/>
                  <a:p>
                    <a:r>
                      <a:t>1115.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6B0-4FC2-8E3E-D9C6B4CB7568}"/>
                </c:ext>
              </c:extLst>
            </c:dLbl>
            <c:dLbl>
              <c:idx val="4"/>
              <c:tx>
                <c:rich>
                  <a:bodyPr/>
                  <a:lstStyle/>
                  <a:p>
                    <a:r>
                      <a:t>11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6B0-4FC2-8E3E-D9C6B4CB7568}"/>
                </c:ext>
              </c:extLst>
            </c:dLbl>
            <c:dLbl>
              <c:idx val="5"/>
              <c:tx>
                <c:rich>
                  <a:bodyPr/>
                  <a:lstStyle/>
                  <a:p>
                    <a:r>
                      <a:t>97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6B0-4FC2-8E3E-D9C6B4CB7568}"/>
                </c:ext>
              </c:extLst>
            </c:dLbl>
            <c:dLbl>
              <c:idx val="6"/>
              <c:tx>
                <c:rich>
                  <a:bodyPr/>
                  <a:lstStyle/>
                  <a:p>
                    <a:r>
                      <a:t>63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6B0-4FC2-8E3E-D9C6B4CB7568}"/>
                </c:ext>
              </c:extLst>
            </c:dLbl>
            <c:dLbl>
              <c:idx val="7"/>
              <c:tx>
                <c:rich>
                  <a:bodyPr/>
                  <a:lstStyle/>
                  <a:p>
                    <a:r>
                      <a:t>42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6B0-4FC2-8E3E-D9C6B4CB756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426.1102000000001</c:v>
                </c:pt>
                <c:pt idx="1">
                  <c:v>1225.5521000000001</c:v>
                </c:pt>
                <c:pt idx="2">
                  <c:v>1066.3696</c:v>
                </c:pt>
                <c:pt idx="3">
                  <c:v>1115.49</c:v>
                </c:pt>
                <c:pt idx="4">
                  <c:v>1175.4740999999999</c:v>
                </c:pt>
                <c:pt idx="5">
                  <c:v>974.74749999999995</c:v>
                </c:pt>
                <c:pt idx="6">
                  <c:v>631.1431</c:v>
                </c:pt>
                <c:pt idx="7">
                  <c:v>424.4560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A45-4AC4-B0CA-F9A5E2C550B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29.5</c:v>
                </c:pt>
                <c:pt idx="1">
                  <c:v>24</c:v>
                </c:pt>
                <c:pt idx="2">
                  <c:v>24.6</c:v>
                </c:pt>
                <c:pt idx="3">
                  <c:v>6.7</c:v>
                </c:pt>
                <c:pt idx="4">
                  <c:v>5.3</c:v>
                </c:pt>
                <c:pt idx="5">
                  <c:v>0.4</c:v>
                </c:pt>
                <c:pt idx="6">
                  <c:v>3.3</c:v>
                </c:pt>
                <c:pt idx="7">
                  <c:v>1.10000000000000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A45-4AC4-B0CA-F9A5E2C550B0}"/>
                </c:ext>
              </c:extLst>
            </c:dLbl>
            <c:dLbl>
              <c:idx val="1"/>
              <c:tx>
                <c:rich>
                  <a:bodyPr/>
                  <a:lstStyle/>
                  <a:p>
                    <a:r>
                      <a:t>117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A45-4AC4-B0CA-F9A5E2C550B0}"/>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A45-4AC4-B0CA-F9A5E2C550B0}"/>
                </c:ext>
              </c:extLst>
            </c:dLbl>
            <c:dLbl>
              <c:idx val="3"/>
              <c:tx>
                <c:rich>
                  <a:bodyPr/>
                  <a:lstStyle/>
                  <a:p>
                    <a:r>
                      <a:t>1207.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A45-4AC4-B0CA-F9A5E2C550B0}"/>
                </c:ext>
              </c:extLst>
            </c:dLbl>
            <c:dLbl>
              <c:idx val="4"/>
              <c:tx>
                <c:rich>
                  <a:bodyPr/>
                  <a:lstStyle/>
                  <a:p>
                    <a:r>
                      <a:t>11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A45-4AC4-B0CA-F9A5E2C550B0}"/>
                </c:ext>
              </c:extLst>
            </c:dLbl>
            <c:dLbl>
              <c:idx val="5"/>
              <c:tx>
                <c:rich>
                  <a:bodyPr/>
                  <a:lstStyle/>
                  <a:p>
                    <a:r>
                      <a:t>94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A45-4AC4-B0CA-F9A5E2C550B0}"/>
                </c:ext>
              </c:extLst>
            </c:dLbl>
            <c:dLbl>
              <c:idx val="6"/>
              <c:tx>
                <c:rich>
                  <a:bodyPr/>
                  <a:lstStyle/>
                  <a:p>
                    <a:r>
                      <a:t>56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A45-4AC4-B0CA-F9A5E2C550B0}"/>
                </c:ext>
              </c:extLst>
            </c:dLbl>
            <c:dLbl>
              <c:idx val="7"/>
              <c:tx>
                <c:rich>
                  <a:bodyPr/>
                  <a:lstStyle/>
                  <a:p>
                    <a:r>
                      <a:t>43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A45-4AC4-B0CA-F9A5E2C550B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50.2655999999999</c:v>
                </c:pt>
                <c:pt idx="1">
                  <c:v>1171.8741</c:v>
                </c:pt>
                <c:pt idx="2">
                  <c:v>1119.7040999999999</c:v>
                </c:pt>
                <c:pt idx="3">
                  <c:v>1207.6943000000001</c:v>
                </c:pt>
                <c:pt idx="4">
                  <c:v>1114.8275000000001</c:v>
                </c:pt>
                <c:pt idx="5">
                  <c:v>949.65440000000001</c:v>
                </c:pt>
                <c:pt idx="6">
                  <c:v>560.45460000000003</c:v>
                </c:pt>
                <c:pt idx="7">
                  <c:v>433.25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31CF-49AE-AFA6-009F2FB4787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19.5</c:v>
                </c:pt>
                <c:pt idx="1">
                  <c:v>31.1</c:v>
                </c:pt>
                <c:pt idx="2">
                  <c:v>23.2</c:v>
                </c:pt>
                <c:pt idx="3">
                  <c:v>7.9</c:v>
                </c:pt>
                <c:pt idx="4">
                  <c:v>5.9</c:v>
                </c:pt>
                <c:pt idx="5">
                  <c:v>0.7</c:v>
                </c:pt>
                <c:pt idx="6">
                  <c:v>3.9</c:v>
                </c:pt>
                <c:pt idx="7">
                  <c:v>1.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1CF-49AE-AFA6-009F2FB47870}"/>
                </c:ext>
              </c:extLst>
            </c:dLbl>
            <c:dLbl>
              <c:idx val="1"/>
              <c:tx>
                <c:rich>
                  <a:bodyPr/>
                  <a:lstStyle/>
                  <a:p>
                    <a:r>
                      <a:t>1255.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1CF-49AE-AFA6-009F2FB47870}"/>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1CF-49AE-AFA6-009F2FB47870}"/>
                </c:ext>
              </c:extLst>
            </c:dLbl>
            <c:dLbl>
              <c:idx val="3"/>
              <c:tx>
                <c:rich>
                  <a:bodyPr/>
                  <a:lstStyle/>
                  <a:p>
                    <a:r>
                      <a:t>1293.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1CF-49AE-AFA6-009F2FB47870}"/>
                </c:ext>
              </c:extLst>
            </c:dLbl>
            <c:dLbl>
              <c:idx val="4"/>
              <c:tx>
                <c:rich>
                  <a:bodyPr/>
                  <a:lstStyle/>
                  <a:p>
                    <a:r>
                      <a:t>109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1CF-49AE-AFA6-009F2FB47870}"/>
                </c:ext>
              </c:extLst>
            </c:dLbl>
            <c:dLbl>
              <c:idx val="5"/>
              <c:tx>
                <c:rich>
                  <a:bodyPr/>
                  <a:lstStyle/>
                  <a:p>
                    <a:r>
                      <a:t>95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1CF-49AE-AFA6-009F2FB47870}"/>
                </c:ext>
              </c:extLst>
            </c:dLbl>
            <c:dLbl>
              <c:idx val="6"/>
              <c:tx>
                <c:rich>
                  <a:bodyPr/>
                  <a:lstStyle/>
                  <a:p>
                    <a:r>
                      <a:t>55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1CF-49AE-AFA6-009F2FB47870}"/>
                </c:ext>
              </c:extLst>
            </c:dLbl>
            <c:dLbl>
              <c:idx val="7"/>
              <c:tx>
                <c:rich>
                  <a:bodyPr/>
                  <a:lstStyle/>
                  <a:p>
                    <a:r>
                      <a:t>448.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1CF-49AE-AFA6-009F2FB4787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65.943</c:v>
                </c:pt>
                <c:pt idx="1">
                  <c:v>1255.5078000000001</c:v>
                </c:pt>
                <c:pt idx="2">
                  <c:v>1145.3687</c:v>
                </c:pt>
                <c:pt idx="3">
                  <c:v>1293.8791000000001</c:v>
                </c:pt>
                <c:pt idx="4">
                  <c:v>1094.9781</c:v>
                </c:pt>
                <c:pt idx="5">
                  <c:v>951.13599999999997</c:v>
                </c:pt>
                <c:pt idx="6">
                  <c:v>556.78269999999998</c:v>
                </c:pt>
                <c:pt idx="7">
                  <c:v>448.9503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159-4754-A530-71FCF1253E2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62.9</c:v>
                </c:pt>
                <c:pt idx="1">
                  <c:v>24.4</c:v>
                </c:pt>
                <c:pt idx="2">
                  <c:v>16.5</c:v>
                </c:pt>
                <c:pt idx="3">
                  <c:v>5.6</c:v>
                </c:pt>
                <c:pt idx="4">
                  <c:v>4</c:v>
                </c:pt>
                <c:pt idx="5">
                  <c:v>0.4</c:v>
                </c:pt>
                <c:pt idx="6">
                  <c:v>3</c:v>
                </c:pt>
                <c:pt idx="7">
                  <c:v>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159-4754-A530-71FCF1253E2D}"/>
                </c:ext>
              </c:extLst>
            </c:dLbl>
            <c:dLbl>
              <c:idx val="1"/>
              <c:tx>
                <c:rich>
                  <a:bodyPr/>
                  <a:lstStyle/>
                  <a:p>
                    <a:r>
                      <a:t>130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159-4754-A530-71FCF1253E2D}"/>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159-4754-A530-71FCF1253E2D}"/>
                </c:ext>
              </c:extLst>
            </c:dLbl>
            <c:dLbl>
              <c:idx val="3"/>
              <c:tx>
                <c:rich>
                  <a:bodyPr/>
                  <a:lstStyle/>
                  <a:p>
                    <a:r>
                      <a:t>13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159-4754-A530-71FCF1253E2D}"/>
                </c:ext>
              </c:extLst>
            </c:dLbl>
            <c:dLbl>
              <c:idx val="4"/>
              <c:tx>
                <c:rich>
                  <a:bodyPr/>
                  <a:lstStyle/>
                  <a:p>
                    <a:r>
                      <a:t>114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159-4754-A530-71FCF1253E2D}"/>
                </c:ext>
              </c:extLst>
            </c:dLbl>
            <c:dLbl>
              <c:idx val="5"/>
              <c:tx>
                <c:rich>
                  <a:bodyPr/>
                  <a:lstStyle/>
                  <a:p>
                    <a:r>
                      <a:t>905.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159-4754-A530-71FCF1253E2D}"/>
                </c:ext>
              </c:extLst>
            </c:dLbl>
            <c:dLbl>
              <c:idx val="6"/>
              <c:tx>
                <c:rich>
                  <a:bodyPr/>
                  <a:lstStyle/>
                  <a:p>
                    <a:r>
                      <a:t>579.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159-4754-A530-71FCF1253E2D}"/>
                </c:ext>
              </c:extLst>
            </c:dLbl>
            <c:dLbl>
              <c:idx val="7"/>
              <c:tx>
                <c:rich>
                  <a:bodyPr/>
                  <a:lstStyle/>
                  <a:p>
                    <a:r>
                      <a:t>43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159-4754-A530-71FCF1253E2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20.3788</c:v>
                </c:pt>
                <c:pt idx="1">
                  <c:v>1300.5640000000001</c:v>
                </c:pt>
                <c:pt idx="2">
                  <c:v>1211.6323</c:v>
                </c:pt>
                <c:pt idx="3">
                  <c:v>1311.6402</c:v>
                </c:pt>
                <c:pt idx="4">
                  <c:v>1142.4345000000001</c:v>
                </c:pt>
                <c:pt idx="5">
                  <c:v>905.03060000000005</c:v>
                </c:pt>
                <c:pt idx="6">
                  <c:v>579.33040000000005</c:v>
                </c:pt>
                <c:pt idx="7">
                  <c:v>432.3743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BCC5-4465-AADB-0183C4D92D3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419.7</c:v>
                </c:pt>
                <c:pt idx="1">
                  <c:v>12.5</c:v>
                </c:pt>
                <c:pt idx="2">
                  <c:v>139.69999999999999</c:v>
                </c:pt>
                <c:pt idx="3">
                  <c:v>0</c:v>
                </c:pt>
                <c:pt idx="4">
                  <c:v>32.5</c:v>
                </c:pt>
                <c:pt idx="5">
                  <c:v>0</c:v>
                </c:pt>
                <c:pt idx="6">
                  <c:v>24.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BCC5-4465-AADB-0183C4D92D3E}"/>
                </c:ext>
              </c:extLst>
            </c:dLbl>
            <c:dLbl>
              <c:idx val="1"/>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CC5-4465-AADB-0183C4D92D3E}"/>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CC5-4465-AADB-0183C4D92D3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CC5-4465-AADB-0183C4D92D3E}"/>
                </c:ext>
              </c:extLst>
            </c:dLbl>
            <c:dLbl>
              <c:idx val="4"/>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CC5-4465-AADB-0183C4D92D3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CC5-4465-AADB-0183C4D92D3E}"/>
                </c:ext>
              </c:extLst>
            </c:dLbl>
            <c:dLbl>
              <c:idx val="6"/>
              <c:tx>
                <c:rich>
                  <a:bodyPr/>
                  <a:lstStyle/>
                  <a:p>
                    <a:r>
                      <a:t>57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CC5-4465-AADB-0183C4D92D3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CC5-4465-AADB-0183C4D92D3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88.7191</c:v>
                </c:pt>
                <c:pt idx="1">
                  <c:v>4025.5318000000002</c:v>
                </c:pt>
                <c:pt idx="2">
                  <c:v>1129.5237999999999</c:v>
                </c:pt>
                <c:pt idx="3">
                  <c:v>0</c:v>
                </c:pt>
                <c:pt idx="4">
                  <c:v>1116.2927</c:v>
                </c:pt>
                <c:pt idx="5">
                  <c:v>0</c:v>
                </c:pt>
                <c:pt idx="6">
                  <c:v>576.52139999999997</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3F6-496F-9F68-E98BBA72492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309</c:v>
                </c:pt>
                <c:pt idx="1">
                  <c:v>3</c:v>
                </c:pt>
                <c:pt idx="2">
                  <c:v>27.7</c:v>
                </c:pt>
                <c:pt idx="3">
                  <c:v>0</c:v>
                </c:pt>
                <c:pt idx="4">
                  <c:v>5.9</c:v>
                </c:pt>
                <c:pt idx="5">
                  <c:v>0</c:v>
                </c:pt>
                <c:pt idx="6">
                  <c:v>4.4000000000000004</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3F6-496F-9F68-E98BBA724921}"/>
                </c:ext>
              </c:extLst>
            </c:dLbl>
            <c:dLbl>
              <c:idx val="1"/>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3F6-496F-9F68-E98BBA724921}"/>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3F6-496F-9F68-E98BBA72492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3F6-496F-9F68-E98BBA724921}"/>
                </c:ext>
              </c:extLst>
            </c:dLbl>
            <c:dLbl>
              <c:idx val="4"/>
              <c:tx>
                <c:rich>
                  <a:bodyPr/>
                  <a:lstStyle/>
                  <a:p>
                    <a:r>
                      <a:t>107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3F6-496F-9F68-E98BBA72492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3F6-496F-9F68-E98BBA724921}"/>
                </c:ext>
              </c:extLst>
            </c:dLbl>
            <c:dLbl>
              <c:idx val="6"/>
              <c:tx>
                <c:rich>
                  <a:bodyPr/>
                  <a:lstStyle/>
                  <a:p>
                    <a:r>
                      <a:t>54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3F6-496F-9F68-E98BBA72492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3F6-496F-9F68-E98BBA72492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720.6778999999999</c:v>
                </c:pt>
                <c:pt idx="1">
                  <c:v>4341.9049999999997</c:v>
                </c:pt>
                <c:pt idx="2">
                  <c:v>1113.2074</c:v>
                </c:pt>
                <c:pt idx="3">
                  <c:v>0</c:v>
                </c:pt>
                <c:pt idx="4">
                  <c:v>1077.7547999999999</c:v>
                </c:pt>
                <c:pt idx="5">
                  <c:v>0</c:v>
                </c:pt>
                <c:pt idx="6">
                  <c:v>544.4401000000000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E5C3-4F68-884E-5FF4DA3E9C4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Sunscreen | O.O.S</c:v>
                  </c:pt>
                  <c:pt idx="6">
                    <c:v>Tanning Adults</c:v>
                  </c:pt>
                </c:lvl>
              </c:multiLvlStrCache>
            </c:multiLvlStrRef>
          </c:cat>
          <c:val>
            <c:numRef>
              <c:f>Sheet1!$C$2:$C$9</c:f>
              <c:numCache>
                <c:formatCode>General</c:formatCode>
                <c:ptCount val="8"/>
                <c:pt idx="0">
                  <c:v>268.60000000000002</c:v>
                </c:pt>
                <c:pt idx="1">
                  <c:v>1.9</c:v>
                </c:pt>
                <c:pt idx="2">
                  <c:v>21.6</c:v>
                </c:pt>
                <c:pt idx="3">
                  <c:v>0</c:v>
                </c:pt>
                <c:pt idx="4">
                  <c:v>9.3000000000000007</c:v>
                </c:pt>
                <c:pt idx="5">
                  <c:v>0</c:v>
                </c:pt>
                <c:pt idx="6">
                  <c:v>3.1</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5C3-4F68-884E-5FF4DA3E9C48}"/>
                </c:ext>
              </c:extLst>
            </c:dLbl>
            <c:dLbl>
              <c:idx val="1"/>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5C3-4F68-884E-5FF4DA3E9C48}"/>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5C3-4F68-884E-5FF4DA3E9C48}"/>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5C3-4F68-884E-5FF4DA3E9C48}"/>
                </c:ext>
              </c:extLst>
            </c:dLbl>
            <c:dLbl>
              <c:idx val="4"/>
              <c:tx>
                <c:rich>
                  <a:bodyPr/>
                  <a:lstStyle/>
                  <a:p>
                    <a:r>
                      <a:t>998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5C3-4F68-884E-5FF4DA3E9C4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5C3-4F68-884E-5FF4DA3E9C48}"/>
                </c:ext>
              </c:extLst>
            </c:dLbl>
            <c:dLbl>
              <c:idx val="6"/>
              <c:tx>
                <c:rich>
                  <a:bodyPr/>
                  <a:lstStyle/>
                  <a:p>
                    <a:r>
                      <a:t>1055.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5C3-4F68-884E-5FF4DA3E9C4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5C3-4F68-884E-5FF4DA3E9C4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Sunscreen | O.O.S</c:v>
                  </c:pt>
                  <c:pt idx="6">
                    <c:v>Tanning Adults</c:v>
                  </c:pt>
                </c:lvl>
              </c:multiLvlStrCache>
            </c:multiLvlStrRef>
          </c:cat>
          <c:val>
            <c:numRef>
              <c:f>Sheet1!$D$2:$D$9</c:f>
              <c:numCache>
                <c:formatCode>General</c:formatCode>
                <c:ptCount val="8"/>
                <c:pt idx="0">
                  <c:v>2092.9344000000001</c:v>
                </c:pt>
                <c:pt idx="1">
                  <c:v>4279.4597999999996</c:v>
                </c:pt>
                <c:pt idx="2">
                  <c:v>1168.932</c:v>
                </c:pt>
                <c:pt idx="3">
                  <c:v>0</c:v>
                </c:pt>
                <c:pt idx="4">
                  <c:v>9981.3312000000005</c:v>
                </c:pt>
                <c:pt idx="5">
                  <c:v>0</c:v>
                </c:pt>
                <c:pt idx="6">
                  <c:v>1055.4155000000001</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31E6-44C5-855D-4EA2214B7DC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30.2</c:v>
                </c:pt>
                <c:pt idx="1">
                  <c:v>2.2000000000000002</c:v>
                </c:pt>
                <c:pt idx="2">
                  <c:v>26.1</c:v>
                </c:pt>
                <c:pt idx="3">
                  <c:v>0</c:v>
                </c:pt>
                <c:pt idx="4">
                  <c:v>8.3000000000000007</c:v>
                </c:pt>
                <c:pt idx="5">
                  <c:v>0</c:v>
                </c:pt>
                <c:pt idx="6">
                  <c:v>8.199999999999999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1E6-44C5-855D-4EA2214B7DCF}"/>
                </c:ext>
              </c:extLst>
            </c:dLbl>
            <c:dLbl>
              <c:idx val="1"/>
              <c:tx>
                <c:rich>
                  <a:bodyPr/>
                  <a:lstStyle/>
                  <a:p>
                    <a:r>
                      <a:t>310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1E6-44C5-855D-4EA2214B7DCF}"/>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1E6-44C5-855D-4EA2214B7DC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1E6-44C5-855D-4EA2214B7DCF}"/>
                </c:ext>
              </c:extLst>
            </c:dLbl>
            <c:dLbl>
              <c:idx val="4"/>
              <c:tx>
                <c:rich>
                  <a:bodyPr/>
                  <a:lstStyle/>
                  <a:p>
                    <a:r>
                      <a:t>11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1E6-44C5-855D-4EA2214B7DC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1E6-44C5-855D-4EA2214B7DCF}"/>
                </c:ext>
              </c:extLst>
            </c:dLbl>
            <c:dLbl>
              <c:idx val="6"/>
              <c:tx>
                <c:rich>
                  <a:bodyPr/>
                  <a:lstStyle/>
                  <a:p>
                    <a:r>
                      <a:t>63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1E6-44C5-855D-4EA2214B7DC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1E6-44C5-855D-4EA2214B7DC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426.1102000000001</c:v>
                </c:pt>
                <c:pt idx="1">
                  <c:v>3103.4389000000001</c:v>
                </c:pt>
                <c:pt idx="2">
                  <c:v>1066.3696</c:v>
                </c:pt>
                <c:pt idx="3">
                  <c:v>0</c:v>
                </c:pt>
                <c:pt idx="4">
                  <c:v>1175.4740999999999</c:v>
                </c:pt>
                <c:pt idx="5">
                  <c:v>0</c:v>
                </c:pt>
                <c:pt idx="6">
                  <c:v>631.1431</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3F4271E-7D94-44B8-ACAD-E88DE580C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F3AA452-CB0E-43CD-B807-7ECC5FAF5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23AD001-3A79-4079-B4D0-56028CD76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3F244A4-C265-4F65-910D-7051A8F23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F44C31F-C3C5-415B-9182-8FD0D4FE9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68415589-707E-4E01-B2A3-51720F3BD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77ECAC32-54A2-4C96-8F87-BCD5462D8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CA01574-72A7-406D-90CB-265E38AF9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60.14520000000005</c:v>
                </c:pt>
                <c:pt idx="1">
                  <c:v>300.12</c:v>
                </c:pt>
                <c:pt idx="2">
                  <c:v>488.16430000000003</c:v>
                </c:pt>
                <c:pt idx="3">
                  <c:v>210.37819999999999</c:v>
                </c:pt>
                <c:pt idx="4">
                  <c:v>527.05560000000003</c:v>
                </c:pt>
              </c:numCache>
            </c:numRef>
          </c:xVal>
          <c:yVal>
            <c:numRef>
              <c:f>Sheet1!$B$2:$B$6</c:f>
              <c:numCache>
                <c:formatCode>General</c:formatCode>
                <c:ptCount val="5"/>
                <c:pt idx="0">
                  <c:v>13.773999999999999</c:v>
                </c:pt>
                <c:pt idx="1">
                  <c:v>0.77800000000000002</c:v>
                </c:pt>
                <c:pt idx="2">
                  <c:v>2.734</c:v>
                </c:pt>
                <c:pt idx="3">
                  <c:v>0.49299999999999999</c:v>
                </c:pt>
                <c:pt idx="4">
                  <c:v>0</c:v>
                </c:pt>
              </c:numCache>
            </c:numRef>
          </c:yVal>
          <c:bubbleSize>
            <c:numRef>
              <c:f>Sheet1!$C$2:$C$6</c:f>
              <c:numCache>
                <c:formatCode>General</c:formatCode>
                <c:ptCount val="5"/>
                <c:pt idx="0">
                  <c:v>163716</c:v>
                </c:pt>
                <c:pt idx="1">
                  <c:v>127551</c:v>
                </c:pt>
                <c:pt idx="2">
                  <c:v>103979</c:v>
                </c:pt>
                <c:pt idx="3">
                  <c:v>32819</c:v>
                </c:pt>
                <c:pt idx="4">
                  <c:v>9487</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Hawaiian Tropic</c:v>
                  </c:pt>
                  <c:pt idx="4">
                    <c:v>La Roche-Posa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92"/>
          <c:min val="1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8BF-4CBA-9A6D-5D402DA39C9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29.5</c:v>
                </c:pt>
                <c:pt idx="1">
                  <c:v>1.8</c:v>
                </c:pt>
                <c:pt idx="2">
                  <c:v>24.6</c:v>
                </c:pt>
                <c:pt idx="3">
                  <c:v>0</c:v>
                </c:pt>
                <c:pt idx="4">
                  <c:v>5.3</c:v>
                </c:pt>
                <c:pt idx="5">
                  <c:v>0</c:v>
                </c:pt>
                <c:pt idx="6">
                  <c:v>3.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8BF-4CBA-9A6D-5D402DA39C9F}"/>
                </c:ext>
              </c:extLst>
            </c:dLbl>
            <c:dLbl>
              <c:idx val="1"/>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8BF-4CBA-9A6D-5D402DA39C9F}"/>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8BF-4CBA-9A6D-5D402DA39C9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8BF-4CBA-9A6D-5D402DA39C9F}"/>
                </c:ext>
              </c:extLst>
            </c:dLbl>
            <c:dLbl>
              <c:idx val="4"/>
              <c:tx>
                <c:rich>
                  <a:bodyPr/>
                  <a:lstStyle/>
                  <a:p>
                    <a:r>
                      <a:t>11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8BF-4CBA-9A6D-5D402DA39C9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8BF-4CBA-9A6D-5D402DA39C9F}"/>
                </c:ext>
              </c:extLst>
            </c:dLbl>
            <c:dLbl>
              <c:idx val="6"/>
              <c:tx>
                <c:rich>
                  <a:bodyPr/>
                  <a:lstStyle/>
                  <a:p>
                    <a:r>
                      <a:t>56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8BF-4CBA-9A6D-5D402DA39C9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8BF-4CBA-9A6D-5D402DA39C9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50.2655999999999</c:v>
                </c:pt>
                <c:pt idx="1">
                  <c:v>4233.1399000000001</c:v>
                </c:pt>
                <c:pt idx="2">
                  <c:v>1119.7040999999999</c:v>
                </c:pt>
                <c:pt idx="3">
                  <c:v>0</c:v>
                </c:pt>
                <c:pt idx="4">
                  <c:v>1114.8275000000001</c:v>
                </c:pt>
                <c:pt idx="5">
                  <c:v>0</c:v>
                </c:pt>
                <c:pt idx="6">
                  <c:v>560.4546000000000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A1B7-44DE-A6F3-8EC6C660151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19.5</c:v>
                </c:pt>
                <c:pt idx="1">
                  <c:v>2</c:v>
                </c:pt>
                <c:pt idx="2">
                  <c:v>23.2</c:v>
                </c:pt>
                <c:pt idx="3">
                  <c:v>0</c:v>
                </c:pt>
                <c:pt idx="4">
                  <c:v>5.9</c:v>
                </c:pt>
                <c:pt idx="5">
                  <c:v>0</c:v>
                </c:pt>
                <c:pt idx="6">
                  <c:v>3.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1B7-44DE-A6F3-8EC6C6601516}"/>
                </c:ext>
              </c:extLst>
            </c:dLbl>
            <c:dLbl>
              <c:idx val="1"/>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1B7-44DE-A6F3-8EC6C6601516}"/>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1B7-44DE-A6F3-8EC6C660151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1B7-44DE-A6F3-8EC6C6601516}"/>
                </c:ext>
              </c:extLst>
            </c:dLbl>
            <c:dLbl>
              <c:idx val="4"/>
              <c:tx>
                <c:rich>
                  <a:bodyPr/>
                  <a:lstStyle/>
                  <a:p>
                    <a:r>
                      <a:t>109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1B7-44DE-A6F3-8EC6C660151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1B7-44DE-A6F3-8EC6C6601516}"/>
                </c:ext>
              </c:extLst>
            </c:dLbl>
            <c:dLbl>
              <c:idx val="6"/>
              <c:tx>
                <c:rich>
                  <a:bodyPr/>
                  <a:lstStyle/>
                  <a:p>
                    <a:r>
                      <a:t>55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1B7-44DE-A6F3-8EC6C660151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1B7-44DE-A6F3-8EC6C660151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65.943</c:v>
                </c:pt>
                <c:pt idx="1">
                  <c:v>4326.9489999999996</c:v>
                </c:pt>
                <c:pt idx="2">
                  <c:v>1145.3687</c:v>
                </c:pt>
                <c:pt idx="3">
                  <c:v>0</c:v>
                </c:pt>
                <c:pt idx="4">
                  <c:v>1094.9781</c:v>
                </c:pt>
                <c:pt idx="5">
                  <c:v>0</c:v>
                </c:pt>
                <c:pt idx="6">
                  <c:v>556.7826999999999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CB7C-4874-88C7-7D037701471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62.9</c:v>
                </c:pt>
                <c:pt idx="1">
                  <c:v>1.5</c:v>
                </c:pt>
                <c:pt idx="2">
                  <c:v>16.5</c:v>
                </c:pt>
                <c:pt idx="3">
                  <c:v>0</c:v>
                </c:pt>
                <c:pt idx="4">
                  <c:v>4</c:v>
                </c:pt>
                <c:pt idx="5">
                  <c:v>0</c:v>
                </c:pt>
                <c:pt idx="6">
                  <c:v>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B7C-4874-88C7-7D037701471B}"/>
                </c:ext>
              </c:extLst>
            </c:dLbl>
            <c:dLbl>
              <c:idx val="1"/>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B7C-4874-88C7-7D037701471B}"/>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B7C-4874-88C7-7D037701471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B7C-4874-88C7-7D037701471B}"/>
                </c:ext>
              </c:extLst>
            </c:dLbl>
            <c:dLbl>
              <c:idx val="4"/>
              <c:tx>
                <c:rich>
                  <a:bodyPr/>
                  <a:lstStyle/>
                  <a:p>
                    <a:r>
                      <a:t>114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B7C-4874-88C7-7D037701471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B7C-4874-88C7-7D037701471B}"/>
                </c:ext>
              </c:extLst>
            </c:dLbl>
            <c:dLbl>
              <c:idx val="6"/>
              <c:tx>
                <c:rich>
                  <a:bodyPr/>
                  <a:lstStyle/>
                  <a:p>
                    <a:r>
                      <a:t>579.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B7C-4874-88C7-7D037701471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B7C-4874-88C7-7D037701471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20.3788</c:v>
                </c:pt>
                <c:pt idx="1">
                  <c:v>4326.4348</c:v>
                </c:pt>
                <c:pt idx="2">
                  <c:v>1211.6323</c:v>
                </c:pt>
                <c:pt idx="3">
                  <c:v>0</c:v>
                </c:pt>
                <c:pt idx="4">
                  <c:v>1142.4345000000001</c:v>
                </c:pt>
                <c:pt idx="5">
                  <c:v>0</c:v>
                </c:pt>
                <c:pt idx="6">
                  <c:v>579.33040000000005</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0EB-49E9-9522-53026FCB450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0EB-49E9-9522-53026FCB4500}"/>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003.4</c:v>
                </c:pt>
                <c:pt idx="1">
                  <c:v>195.4</c:v>
                </c:pt>
                <c:pt idx="2">
                  <c:v>411</c:v>
                </c:pt>
                <c:pt idx="3">
                  <c:v>0</c:v>
                </c:pt>
                <c:pt idx="4">
                  <c:v>152.69999999999999</c:v>
                </c:pt>
                <c:pt idx="5">
                  <c:v>51</c:v>
                </c:pt>
                <c:pt idx="6">
                  <c:v>32.4</c:v>
                </c:pt>
                <c:pt idx="7">
                  <c:v>13.3</c:v>
                </c:pt>
                <c:pt idx="8">
                  <c:v>24.9</c:v>
                </c:pt>
                <c:pt idx="9">
                  <c:v>9.30000000000000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58.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0EB-49E9-9522-53026FCB4500}"/>
                </c:ext>
              </c:extLst>
            </c:dLbl>
            <c:dLbl>
              <c:idx val="1"/>
              <c:tx>
                <c:rich>
                  <a:bodyPr/>
                  <a:lstStyle/>
                  <a:p>
                    <a:r>
                      <a:t>122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0EB-49E9-9522-53026FCB4500}"/>
                </c:ext>
              </c:extLst>
            </c:dLbl>
            <c:dLbl>
              <c:idx val="2"/>
              <c:tx>
                <c:rich>
                  <a:bodyPr/>
                  <a:lstStyle/>
                  <a:p>
                    <a:r>
                      <a:t>4637.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0EB-49E9-9522-53026FCB450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0EB-49E9-9522-53026FCB4500}"/>
                </c:ext>
              </c:extLst>
            </c:dLbl>
            <c:dLbl>
              <c:idx val="4"/>
              <c:tx>
                <c:rich>
                  <a:bodyPr/>
                  <a:lstStyle/>
                  <a:p>
                    <a:r>
                      <a:t>1085.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0EB-49E9-9522-53026FCB4500}"/>
                </c:ext>
              </c:extLst>
            </c:dLbl>
            <c:dLbl>
              <c:idx val="5"/>
              <c:tx>
                <c:rich>
                  <a:bodyPr/>
                  <a:lstStyle/>
                  <a:p>
                    <a:r>
                      <a:t>116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0EB-49E9-9522-53026FCB4500}"/>
                </c:ext>
              </c:extLst>
            </c:dLbl>
            <c:dLbl>
              <c:idx val="6"/>
              <c:tx>
                <c:rich>
                  <a:bodyPr/>
                  <a:lstStyle/>
                  <a:p>
                    <a:r>
                      <a:t>1113.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0EB-49E9-9522-53026FCB4500}"/>
                </c:ext>
              </c:extLst>
            </c:dLbl>
            <c:dLbl>
              <c:idx val="7"/>
              <c:tx>
                <c:rich>
                  <a:bodyPr/>
                  <a:lstStyle/>
                  <a:p>
                    <a:r>
                      <a:t>11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0EB-49E9-9522-53026FCB4500}"/>
                </c:ext>
              </c:extLst>
            </c:dLbl>
            <c:dLbl>
              <c:idx val="8"/>
              <c:tx>
                <c:rich>
                  <a:bodyPr/>
                  <a:lstStyle/>
                  <a:p>
                    <a:r>
                      <a:t>574.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0EB-49E9-9522-53026FCB4500}"/>
                </c:ext>
              </c:extLst>
            </c:dLbl>
            <c:dLbl>
              <c:idx val="9"/>
              <c:tx>
                <c:rich>
                  <a:bodyPr/>
                  <a:lstStyle/>
                  <a:p>
                    <a:r>
                      <a:t>6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0EB-49E9-9522-53026FCB450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58.7932000000001</c:v>
                </c:pt>
                <c:pt idx="1">
                  <c:v>1222.1485</c:v>
                </c:pt>
                <c:pt idx="2">
                  <c:v>4637.2060000000001</c:v>
                </c:pt>
                <c:pt idx="3">
                  <c:v>0</c:v>
                </c:pt>
                <c:pt idx="4">
                  <c:v>1085.8104000000001</c:v>
                </c:pt>
                <c:pt idx="5">
                  <c:v>1169.3857</c:v>
                </c:pt>
                <c:pt idx="6">
                  <c:v>1113.6845000000001</c:v>
                </c:pt>
                <c:pt idx="7">
                  <c:v>1122.9222</c:v>
                </c:pt>
                <c:pt idx="8">
                  <c:v>574.66010000000006</c:v>
                </c:pt>
                <c:pt idx="9">
                  <c:v>675.8157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4D6C-465F-8FBD-CE25DCDFE50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4D6C-465F-8FBD-CE25DCDFE507}"/>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215.1</c:v>
                </c:pt>
                <c:pt idx="1">
                  <c:v>42.6</c:v>
                </c:pt>
                <c:pt idx="2">
                  <c:v>93.5</c:v>
                </c:pt>
                <c:pt idx="3">
                  <c:v>0</c:v>
                </c:pt>
                <c:pt idx="4">
                  <c:v>29.6</c:v>
                </c:pt>
                <c:pt idx="5">
                  <c:v>11.6</c:v>
                </c:pt>
                <c:pt idx="6">
                  <c:v>5.9</c:v>
                </c:pt>
                <c:pt idx="7">
                  <c:v>2.2999999999999998</c:v>
                </c:pt>
                <c:pt idx="8">
                  <c:v>4.4000000000000004</c:v>
                </c:pt>
                <c:pt idx="9">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D6C-465F-8FBD-CE25DCDFE507}"/>
                </c:ext>
              </c:extLst>
            </c:dLbl>
            <c:dLbl>
              <c:idx val="1"/>
              <c:tx>
                <c:rich>
                  <a:bodyPr/>
                  <a:lstStyle/>
                  <a:p>
                    <a:r>
                      <a:t>122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D6C-465F-8FBD-CE25DCDFE507}"/>
                </c:ext>
              </c:extLst>
            </c:dLbl>
            <c:dLbl>
              <c:idx val="2"/>
              <c:tx>
                <c:rich>
                  <a:bodyPr/>
                  <a:lstStyle/>
                  <a:p>
                    <a:r>
                      <a:t>4498.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D6C-465F-8FBD-CE25DCDFE50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D6C-465F-8FBD-CE25DCDFE507}"/>
                </c:ext>
              </c:extLst>
            </c:dLbl>
            <c:dLbl>
              <c:idx val="4"/>
              <c:tx>
                <c:rich>
                  <a:bodyPr/>
                  <a:lstStyle/>
                  <a:p>
                    <a:r>
                      <a:t>106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D6C-465F-8FBD-CE25DCDFE507}"/>
                </c:ext>
              </c:extLst>
            </c:dLbl>
            <c:dLbl>
              <c:idx val="5"/>
              <c:tx>
                <c:rich>
                  <a:bodyPr/>
                  <a:lstStyle/>
                  <a:p>
                    <a:r>
                      <a:t>1197.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D6C-465F-8FBD-CE25DCDFE507}"/>
                </c:ext>
              </c:extLst>
            </c:dLbl>
            <c:dLbl>
              <c:idx val="6"/>
              <c:tx>
                <c:rich>
                  <a:bodyPr/>
                  <a:lstStyle/>
                  <a:p>
                    <a:r>
                      <a:t>107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D6C-465F-8FBD-CE25DCDFE507}"/>
                </c:ext>
              </c:extLst>
            </c:dLbl>
            <c:dLbl>
              <c:idx val="7"/>
              <c:tx>
                <c:rich>
                  <a:bodyPr/>
                  <a:lstStyle/>
                  <a:p>
                    <a:r>
                      <a:t>1162.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D6C-465F-8FBD-CE25DCDFE507}"/>
                </c:ext>
              </c:extLst>
            </c:dLbl>
            <c:dLbl>
              <c:idx val="8"/>
              <c:tx>
                <c:rich>
                  <a:bodyPr/>
                  <a:lstStyle/>
                  <a:p>
                    <a:r>
                      <a:t>54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D6C-465F-8FBD-CE25DCDFE507}"/>
                </c:ext>
              </c:extLst>
            </c:dLbl>
            <c:dLbl>
              <c:idx val="9"/>
              <c:tx>
                <c:rich>
                  <a:bodyPr/>
                  <a:lstStyle/>
                  <a:p>
                    <a:r>
                      <a:t>71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D6C-465F-8FBD-CE25DCDFE50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73.1205</c:v>
                </c:pt>
                <c:pt idx="1">
                  <c:v>1222.0694000000001</c:v>
                </c:pt>
                <c:pt idx="2">
                  <c:v>4498.5600999999997</c:v>
                </c:pt>
                <c:pt idx="3">
                  <c:v>0</c:v>
                </c:pt>
                <c:pt idx="4">
                  <c:v>1068.2304999999999</c:v>
                </c:pt>
                <c:pt idx="5">
                  <c:v>1197.3814</c:v>
                </c:pt>
                <c:pt idx="6">
                  <c:v>1077.7547999999999</c:v>
                </c:pt>
                <c:pt idx="7">
                  <c:v>1162.1727000000001</c:v>
                </c:pt>
                <c:pt idx="8">
                  <c:v>542.43859999999995</c:v>
                </c:pt>
                <c:pt idx="9">
                  <c:v>716.04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E8DF-43F4-B76C-27136856E08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 O.O.S</c:v>
                  </c:pt>
                </c:lvl>
              </c:multiLvlStrCache>
            </c:multiLvlStrRef>
          </c:cat>
          <c:val>
            <c:numRef>
              <c:f>Sheet1!$C$2:$C$9</c:f>
              <c:numCache>
                <c:formatCode>General</c:formatCode>
                <c:ptCount val="8"/>
                <c:pt idx="0">
                  <c:v>146.4</c:v>
                </c:pt>
                <c:pt idx="1">
                  <c:v>26.1</c:v>
                </c:pt>
                <c:pt idx="2">
                  <c:v>126.2</c:v>
                </c:pt>
                <c:pt idx="3">
                  <c:v>0</c:v>
                </c:pt>
                <c:pt idx="4">
                  <c:v>20.2</c:v>
                </c:pt>
                <c:pt idx="5">
                  <c:v>6.2</c:v>
                </c:pt>
                <c:pt idx="6">
                  <c:v>9.3000000000000007</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8DF-43F4-B76C-27136856E08A}"/>
                </c:ext>
              </c:extLst>
            </c:dLbl>
            <c:dLbl>
              <c:idx val="1"/>
              <c:tx>
                <c:rich>
                  <a:bodyPr/>
                  <a:lstStyle/>
                  <a:p>
                    <a:r>
                      <a:t>1189.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8DF-43F4-B76C-27136856E08A}"/>
                </c:ext>
              </c:extLst>
            </c:dLbl>
            <c:dLbl>
              <c:idx val="2"/>
              <c:tx>
                <c:rich>
                  <a:bodyPr/>
                  <a:lstStyle/>
                  <a:p>
                    <a:r>
                      <a:t>5526.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8DF-43F4-B76C-27136856E08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8DF-43F4-B76C-27136856E08A}"/>
                </c:ext>
              </c:extLst>
            </c:dLbl>
            <c:dLbl>
              <c:idx val="4"/>
              <c:tx>
                <c:rich>
                  <a:bodyPr/>
                  <a:lstStyle/>
                  <a:p>
                    <a:r>
                      <a:t>10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8DF-43F4-B76C-27136856E08A}"/>
                </c:ext>
              </c:extLst>
            </c:dLbl>
            <c:dLbl>
              <c:idx val="5"/>
              <c:tx>
                <c:rich>
                  <a:bodyPr/>
                  <a:lstStyle/>
                  <a:p>
                    <a:r>
                      <a:t>1128.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8DF-43F4-B76C-27136856E08A}"/>
                </c:ext>
              </c:extLst>
            </c:dLbl>
            <c:dLbl>
              <c:idx val="6"/>
              <c:tx>
                <c:rich>
                  <a:bodyPr/>
                  <a:lstStyle/>
                  <a:p>
                    <a:r>
                      <a:t>998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8DF-43F4-B76C-27136856E08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8DF-43F4-B76C-27136856E08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 O.O.S</c:v>
                  </c:pt>
                </c:lvl>
              </c:multiLvlStrCache>
            </c:multiLvlStrRef>
          </c:cat>
          <c:val>
            <c:numRef>
              <c:f>Sheet1!$D$2:$D$9</c:f>
              <c:numCache>
                <c:formatCode>General</c:formatCode>
                <c:ptCount val="8"/>
                <c:pt idx="0">
                  <c:v>1390.5033000000001</c:v>
                </c:pt>
                <c:pt idx="1">
                  <c:v>1189.1239</c:v>
                </c:pt>
                <c:pt idx="2">
                  <c:v>5526.0637999999999</c:v>
                </c:pt>
                <c:pt idx="3">
                  <c:v>0</c:v>
                </c:pt>
                <c:pt idx="4">
                  <c:v>1024.1972000000001</c:v>
                </c:pt>
                <c:pt idx="5">
                  <c:v>1128.2922000000001</c:v>
                </c:pt>
                <c:pt idx="6">
                  <c:v>9981.3312000000005</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95F-44CE-B0A3-C13AD8DC726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795F-44CE-B0A3-C13AD8DC726D}"/>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95.6</c:v>
                </c:pt>
                <c:pt idx="1">
                  <c:v>35.5</c:v>
                </c:pt>
                <c:pt idx="2">
                  <c:v>31.9</c:v>
                </c:pt>
                <c:pt idx="3">
                  <c:v>0</c:v>
                </c:pt>
                <c:pt idx="4">
                  <c:v>29.3</c:v>
                </c:pt>
                <c:pt idx="5">
                  <c:v>10.4</c:v>
                </c:pt>
                <c:pt idx="6">
                  <c:v>8.3000000000000007</c:v>
                </c:pt>
                <c:pt idx="7">
                  <c:v>3</c:v>
                </c:pt>
                <c:pt idx="8">
                  <c:v>8.1999999999999993</c:v>
                </c:pt>
                <c:pt idx="9">
                  <c:v>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5F-44CE-B0A3-C13AD8DC726D}"/>
                </c:ext>
              </c:extLst>
            </c:dLbl>
            <c:dLbl>
              <c:idx val="1"/>
              <c:tx>
                <c:rich>
                  <a:bodyPr/>
                  <a:lstStyle/>
                  <a:p>
                    <a:r>
                      <a:t>119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5F-44CE-B0A3-C13AD8DC726D}"/>
                </c:ext>
              </c:extLst>
            </c:dLbl>
            <c:dLbl>
              <c:idx val="2"/>
              <c:tx>
                <c:rich>
                  <a:bodyPr/>
                  <a:lstStyle/>
                  <a:p>
                    <a:r>
                      <a:t>320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5F-44CE-B0A3-C13AD8DC726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5F-44CE-B0A3-C13AD8DC726D}"/>
                </c:ext>
              </c:extLst>
            </c:dLbl>
            <c:dLbl>
              <c:idx val="4"/>
              <c:tx>
                <c:rich>
                  <a:bodyPr/>
                  <a:lstStyle/>
                  <a:p>
                    <a:r>
                      <a:t>107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5F-44CE-B0A3-C13AD8DC726D}"/>
                </c:ext>
              </c:extLst>
            </c:dLbl>
            <c:dLbl>
              <c:idx val="5"/>
              <c:tx>
                <c:rich>
                  <a:bodyPr/>
                  <a:lstStyle/>
                  <a:p>
                    <a:r>
                      <a:t>112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5F-44CE-B0A3-C13AD8DC726D}"/>
                </c:ext>
              </c:extLst>
            </c:dLbl>
            <c:dLbl>
              <c:idx val="6"/>
              <c:tx>
                <c:rich>
                  <a:bodyPr/>
                  <a:lstStyle/>
                  <a:p>
                    <a:r>
                      <a:t>11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5F-44CE-B0A3-C13AD8DC726D}"/>
                </c:ext>
              </c:extLst>
            </c:dLbl>
            <c:dLbl>
              <c:idx val="7"/>
              <c:tx>
                <c:rich>
                  <a:bodyPr/>
                  <a:lstStyle/>
                  <a:p>
                    <a:r>
                      <a:t>1135.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5F-44CE-B0A3-C13AD8DC726D}"/>
                </c:ext>
              </c:extLst>
            </c:dLbl>
            <c:dLbl>
              <c:idx val="8"/>
              <c:tx>
                <c:rich>
                  <a:bodyPr/>
                  <a:lstStyle/>
                  <a:p>
                    <a:r>
                      <a:t>63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5F-44CE-B0A3-C13AD8DC726D}"/>
                </c:ext>
              </c:extLst>
            </c:dLbl>
            <c:dLbl>
              <c:idx val="9"/>
              <c:tx>
                <c:rich>
                  <a:bodyPr/>
                  <a:lstStyle/>
                  <a:p>
                    <a:r>
                      <a:t>627.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5F-44CE-B0A3-C13AD8DC726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13.604</c:v>
                </c:pt>
                <c:pt idx="1">
                  <c:v>1194.5335</c:v>
                </c:pt>
                <c:pt idx="2">
                  <c:v>3202.0178000000001</c:v>
                </c:pt>
                <c:pt idx="3">
                  <c:v>0</c:v>
                </c:pt>
                <c:pt idx="4">
                  <c:v>1076.3668</c:v>
                </c:pt>
                <c:pt idx="5">
                  <c:v>1123.0324000000001</c:v>
                </c:pt>
                <c:pt idx="6">
                  <c:v>1175.4740999999999</c:v>
                </c:pt>
                <c:pt idx="7">
                  <c:v>1135.2434000000001</c:v>
                </c:pt>
                <c:pt idx="8">
                  <c:v>631.1431</c:v>
                </c:pt>
                <c:pt idx="9">
                  <c:v>627.8382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885-469F-98DC-A5D6417BF55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6885-469F-98DC-A5D6417BF55B}"/>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66.3</c:v>
                </c:pt>
                <c:pt idx="1">
                  <c:v>31</c:v>
                </c:pt>
                <c:pt idx="2">
                  <c:v>65.7</c:v>
                </c:pt>
                <c:pt idx="3">
                  <c:v>0</c:v>
                </c:pt>
                <c:pt idx="4">
                  <c:v>23.4</c:v>
                </c:pt>
                <c:pt idx="5">
                  <c:v>7.7</c:v>
                </c:pt>
                <c:pt idx="6">
                  <c:v>5.3</c:v>
                </c:pt>
                <c:pt idx="7">
                  <c:v>2.4</c:v>
                </c:pt>
                <c:pt idx="8">
                  <c:v>3.3</c:v>
                </c:pt>
                <c:pt idx="9">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885-469F-98DC-A5D6417BF55B}"/>
                </c:ext>
              </c:extLst>
            </c:dLbl>
            <c:dLbl>
              <c:idx val="1"/>
              <c:tx>
                <c:rich>
                  <a:bodyPr/>
                  <a:lstStyle/>
                  <a:p>
                    <a:r>
                      <a:t>120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885-469F-98DC-A5D6417BF55B}"/>
                </c:ext>
              </c:extLst>
            </c:dLbl>
            <c:dLbl>
              <c:idx val="2"/>
              <c:tx>
                <c:rich>
                  <a:bodyPr/>
                  <a:lstStyle/>
                  <a:p>
                    <a:r>
                      <a:t>465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885-469F-98DC-A5D6417BF55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885-469F-98DC-A5D6417BF55B}"/>
                </c:ext>
              </c:extLst>
            </c:dLbl>
            <c:dLbl>
              <c:idx val="4"/>
              <c:tx>
                <c:rich>
                  <a:bodyPr/>
                  <a:lstStyle/>
                  <a:p>
                    <a:r>
                      <a:t>10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885-469F-98DC-A5D6417BF55B}"/>
                </c:ext>
              </c:extLst>
            </c:dLbl>
            <c:dLbl>
              <c:idx val="5"/>
              <c:tx>
                <c:rich>
                  <a:bodyPr/>
                  <a:lstStyle/>
                  <a:p>
                    <a:r>
                      <a:t>1167.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885-469F-98DC-A5D6417BF55B}"/>
                </c:ext>
              </c:extLst>
            </c:dLbl>
            <c:dLbl>
              <c:idx val="6"/>
              <c:tx>
                <c:rich>
                  <a:bodyPr/>
                  <a:lstStyle/>
                  <a:p>
                    <a:r>
                      <a:t>11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885-469F-98DC-A5D6417BF55B}"/>
                </c:ext>
              </c:extLst>
            </c:dLbl>
            <c:dLbl>
              <c:idx val="7"/>
              <c:tx>
                <c:rich>
                  <a:bodyPr/>
                  <a:lstStyle/>
                  <a:p>
                    <a:r>
                      <a:t>11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885-469F-98DC-A5D6417BF55B}"/>
                </c:ext>
              </c:extLst>
            </c:dLbl>
            <c:dLbl>
              <c:idx val="8"/>
              <c:tx>
                <c:rich>
                  <a:bodyPr/>
                  <a:lstStyle/>
                  <a:p>
                    <a:r>
                      <a:t>55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885-469F-98DC-A5D6417BF55B}"/>
                </c:ext>
              </c:extLst>
            </c:dLbl>
            <c:dLbl>
              <c:idx val="9"/>
              <c:tx>
                <c:rich>
                  <a:bodyPr/>
                  <a:lstStyle/>
                  <a:p>
                    <a:r>
                      <a:t>70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885-469F-98DC-A5D6417BF55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28.2991999999999</c:v>
                </c:pt>
                <c:pt idx="1">
                  <c:v>1203.4740999999999</c:v>
                </c:pt>
                <c:pt idx="2">
                  <c:v>4651.8679000000002</c:v>
                </c:pt>
                <c:pt idx="3">
                  <c:v>0</c:v>
                </c:pt>
                <c:pt idx="4">
                  <c:v>1049.4966999999999</c:v>
                </c:pt>
                <c:pt idx="5">
                  <c:v>1167.1128000000001</c:v>
                </c:pt>
                <c:pt idx="6">
                  <c:v>1111.4049</c:v>
                </c:pt>
                <c:pt idx="7">
                  <c:v>1110.5969</c:v>
                </c:pt>
                <c:pt idx="8">
                  <c:v>558.80409999999995</c:v>
                </c:pt>
                <c:pt idx="9">
                  <c:v>706.3641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987-4A5C-BDDB-30FD120A7B6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7987-4A5C-BDDB-30FD120A7B6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52.9</c:v>
                </c:pt>
                <c:pt idx="1">
                  <c:v>34.700000000000003</c:v>
                </c:pt>
                <c:pt idx="2">
                  <c:v>62.7</c:v>
                </c:pt>
                <c:pt idx="3">
                  <c:v>0</c:v>
                </c:pt>
                <c:pt idx="4">
                  <c:v>28.3</c:v>
                </c:pt>
                <c:pt idx="5">
                  <c:v>9</c:v>
                </c:pt>
                <c:pt idx="6">
                  <c:v>5.9</c:v>
                </c:pt>
                <c:pt idx="7">
                  <c:v>2.7</c:v>
                </c:pt>
                <c:pt idx="8">
                  <c:v>3.8</c:v>
                </c:pt>
                <c:pt idx="9">
                  <c:v>1.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40.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7-4A5C-BDDB-30FD120A7B6C}"/>
                </c:ext>
              </c:extLst>
            </c:dLbl>
            <c:dLbl>
              <c:idx val="1"/>
              <c:tx>
                <c:rich>
                  <a:bodyPr/>
                  <a:lstStyle/>
                  <a:p>
                    <a:r>
                      <a:t>126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7-4A5C-BDDB-30FD120A7B6C}"/>
                </c:ext>
              </c:extLst>
            </c:dLbl>
            <c:dLbl>
              <c:idx val="2"/>
              <c:tx>
                <c:rich>
                  <a:bodyPr/>
                  <a:lstStyle/>
                  <a:p>
                    <a:r>
                      <a:t>4720.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7-4A5C-BDDB-30FD120A7B6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7-4A5C-BDDB-30FD120A7B6C}"/>
                </c:ext>
              </c:extLst>
            </c:dLbl>
            <c:dLbl>
              <c:idx val="4"/>
              <c:tx>
                <c:rich>
                  <a:bodyPr/>
                  <a:lstStyle/>
                  <a:p>
                    <a:r>
                      <a:t>112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7-4A5C-BDDB-30FD120A7B6C}"/>
                </c:ext>
              </c:extLst>
            </c:dLbl>
            <c:dLbl>
              <c:idx val="5"/>
              <c:tx>
                <c:rich>
                  <a:bodyPr/>
                  <a:lstStyle/>
                  <a:p>
                    <a:r>
                      <a:t>1197.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7-4A5C-BDDB-30FD120A7B6C}"/>
                </c:ext>
              </c:extLst>
            </c:dLbl>
            <c:dLbl>
              <c:idx val="6"/>
              <c:tx>
                <c:rich>
                  <a:bodyPr/>
                  <a:lstStyle/>
                  <a:p>
                    <a:r>
                      <a:t>109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7-4A5C-BDDB-30FD120A7B6C}"/>
                </c:ext>
              </c:extLst>
            </c:dLbl>
            <c:dLbl>
              <c:idx val="7"/>
              <c:tx>
                <c:rich>
                  <a:bodyPr/>
                  <a:lstStyle/>
                  <a:p>
                    <a:r>
                      <a:t>114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7-4A5C-BDDB-30FD120A7B6C}"/>
                </c:ext>
              </c:extLst>
            </c:dLbl>
            <c:dLbl>
              <c:idx val="8"/>
              <c:tx>
                <c:rich>
                  <a:bodyPr/>
                  <a:lstStyle/>
                  <a:p>
                    <a:r>
                      <a:t>55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7-4A5C-BDDB-30FD120A7B6C}"/>
                </c:ext>
              </c:extLst>
            </c:dLbl>
            <c:dLbl>
              <c:idx val="9"/>
              <c:tx>
                <c:rich>
                  <a:bodyPr/>
                  <a:lstStyle/>
                  <a:p>
                    <a:r>
                      <a:t>70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7-4A5C-BDDB-30FD120A7B6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40.3395</c:v>
                </c:pt>
                <c:pt idx="1">
                  <c:v>1261.1088999999999</c:v>
                </c:pt>
                <c:pt idx="2">
                  <c:v>4720.1136999999999</c:v>
                </c:pt>
                <c:pt idx="3">
                  <c:v>0</c:v>
                </c:pt>
                <c:pt idx="4">
                  <c:v>1124.4306999999999</c:v>
                </c:pt>
                <c:pt idx="5">
                  <c:v>1197.4555</c:v>
                </c:pt>
                <c:pt idx="6">
                  <c:v>1093.2354</c:v>
                </c:pt>
                <c:pt idx="7">
                  <c:v>1141.9157</c:v>
                </c:pt>
                <c:pt idx="8">
                  <c:v>553.99959999999999</c:v>
                </c:pt>
                <c:pt idx="9">
                  <c:v>705.3218000000000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C6D7-4ACC-9BA4-392CC689EF5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C6D7-4ACC-9BA4-392CC689EF57}"/>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27.1</c:v>
                </c:pt>
                <c:pt idx="1">
                  <c:v>25.6</c:v>
                </c:pt>
                <c:pt idx="2">
                  <c:v>31.1</c:v>
                </c:pt>
                <c:pt idx="3">
                  <c:v>0</c:v>
                </c:pt>
                <c:pt idx="4">
                  <c:v>21.8</c:v>
                </c:pt>
                <c:pt idx="5">
                  <c:v>6.1</c:v>
                </c:pt>
                <c:pt idx="6">
                  <c:v>4</c:v>
                </c:pt>
                <c:pt idx="7">
                  <c:v>1.7</c:v>
                </c:pt>
                <c:pt idx="8">
                  <c:v>3</c:v>
                </c:pt>
                <c:pt idx="9">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3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6D7-4ACC-9BA4-392CC689EF57}"/>
                </c:ext>
              </c:extLst>
            </c:dLbl>
            <c:dLbl>
              <c:idx val="1"/>
              <c:tx>
                <c:rich>
                  <a:bodyPr/>
                  <a:lstStyle/>
                  <a:p>
                    <a:r>
                      <a:t>1269.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6D7-4ACC-9BA4-392CC689EF57}"/>
                </c:ext>
              </c:extLst>
            </c:dLbl>
            <c:dLbl>
              <c:idx val="2"/>
              <c:tx>
                <c:rich>
                  <a:bodyPr/>
                  <a:lstStyle/>
                  <a:p>
                    <a:r>
                      <a:t>406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6D7-4ACC-9BA4-392CC689EF5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6D7-4ACC-9BA4-392CC689EF57}"/>
                </c:ext>
              </c:extLst>
            </c:dLbl>
            <c:dLbl>
              <c:idx val="4"/>
              <c:tx>
                <c:rich>
                  <a:bodyPr/>
                  <a:lstStyle/>
                  <a:p>
                    <a:r>
                      <a:t>118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6D7-4ACC-9BA4-392CC689EF57}"/>
                </c:ext>
              </c:extLst>
            </c:dLbl>
            <c:dLbl>
              <c:idx val="5"/>
              <c:tx>
                <c:rich>
                  <a:bodyPr/>
                  <a:lstStyle/>
                  <a:p>
                    <a:r>
                      <a:t>120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6D7-4ACC-9BA4-392CC689EF57}"/>
                </c:ext>
              </c:extLst>
            </c:dLbl>
            <c:dLbl>
              <c:idx val="6"/>
              <c:tx>
                <c:rich>
                  <a:bodyPr/>
                  <a:lstStyle/>
                  <a:p>
                    <a:r>
                      <a:t>114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6D7-4ACC-9BA4-392CC689EF57}"/>
                </c:ext>
              </c:extLst>
            </c:dLbl>
            <c:dLbl>
              <c:idx val="7"/>
              <c:tx>
                <c:rich>
                  <a:bodyPr/>
                  <a:lstStyle/>
                  <a:p>
                    <a:r>
                      <a:t>11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6D7-4ACC-9BA4-392CC689EF57}"/>
                </c:ext>
              </c:extLst>
            </c:dLbl>
            <c:dLbl>
              <c:idx val="8"/>
              <c:tx>
                <c:rich>
                  <a:bodyPr/>
                  <a:lstStyle/>
                  <a:p>
                    <a:r>
                      <a:t>57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6D7-4ACC-9BA4-392CC689EF57}"/>
                </c:ext>
              </c:extLst>
            </c:dLbl>
            <c:dLbl>
              <c:idx val="9"/>
              <c:tx>
                <c:rich>
                  <a:bodyPr/>
                  <a:lstStyle/>
                  <a:p>
                    <a:r>
                      <a:t>710.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6D7-4ACC-9BA4-392CC689EF5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438.8028999999999</c:v>
                </c:pt>
                <c:pt idx="1">
                  <c:v>1269.7829999999999</c:v>
                </c:pt>
                <c:pt idx="2">
                  <c:v>4061.2671999999998</c:v>
                </c:pt>
                <c:pt idx="3">
                  <c:v>0</c:v>
                </c:pt>
                <c:pt idx="4">
                  <c:v>1182.8997999999999</c:v>
                </c:pt>
                <c:pt idx="5">
                  <c:v>1206.636</c:v>
                </c:pt>
                <c:pt idx="6">
                  <c:v>1142.4345000000001</c:v>
                </c:pt>
                <c:pt idx="7">
                  <c:v>1129.7965999999999</c:v>
                </c:pt>
                <c:pt idx="8">
                  <c:v>578.11770000000001</c:v>
                </c:pt>
                <c:pt idx="9">
                  <c:v>710.3188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3F81F26-8C79-4DFE-A087-F78B0CE16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C61A71A-20E2-4A95-BE4E-94B43BB15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5C3154B-14B2-4A7D-AEDC-DF806DD00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525A774-96C4-4B7E-BDFE-CFF948E66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7DC32B8-B7FB-41E6-9F0F-40AEA1C20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71CDBB7C-AA66-44A3-BB10-F3C13017D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FC2F729-EB05-485F-8D3E-584271292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24B64CA-06A0-4D76-B0FF-38B0A9DB7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17830000000001</c:v>
                </c:pt>
                <c:pt idx="1">
                  <c:v>217.6095</c:v>
                </c:pt>
                <c:pt idx="2">
                  <c:v>81.765600000000006</c:v>
                </c:pt>
                <c:pt idx="3">
                  <c:v>72.943399999999997</c:v>
                </c:pt>
                <c:pt idx="4">
                  <c:v>310.0258</c:v>
                </c:pt>
                <c:pt idx="5">
                  <c:v>125.9365</c:v>
                </c:pt>
              </c:numCache>
            </c:numRef>
          </c:xVal>
          <c:yVal>
            <c:numRef>
              <c:f>Sheet1!$B$2:$B$7</c:f>
              <c:numCache>
                <c:formatCode>General</c:formatCode>
                <c:ptCount val="6"/>
                <c:pt idx="0">
                  <c:v>1.3109999999999999</c:v>
                </c:pt>
                <c:pt idx="1">
                  <c:v>1.046</c:v>
                </c:pt>
                <c:pt idx="2">
                  <c:v>0.53300000000000003</c:v>
                </c:pt>
                <c:pt idx="3">
                  <c:v>0.57299999999999995</c:v>
                </c:pt>
                <c:pt idx="4">
                  <c:v>1.702</c:v>
                </c:pt>
                <c:pt idx="5">
                  <c:v>0.51400000000000001</c:v>
                </c:pt>
              </c:numCache>
            </c:numRef>
          </c:yVal>
          <c:bubbleSize>
            <c:numRef>
              <c:f>Sheet1!$C$2:$C$7</c:f>
              <c:numCache>
                <c:formatCode>General</c:formatCode>
                <c:ptCount val="6"/>
                <c:pt idx="0">
                  <c:v>12335062</c:v>
                </c:pt>
                <c:pt idx="1">
                  <c:v>6660591</c:v>
                </c:pt>
                <c:pt idx="2">
                  <c:v>2139478</c:v>
                </c:pt>
                <c:pt idx="3">
                  <c:v>763280</c:v>
                </c:pt>
                <c:pt idx="4">
                  <c:v>288634</c:v>
                </c:pt>
                <c:pt idx="5">
                  <c:v>73421</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Australian Gold</c:v>
                  </c:pt>
                  <c:pt idx="5">
                    <c:v>Hawaiian Tropic</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2"/>
          <c:min val="5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2CF-44FD-ABD8-3038ACC5064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62CF-44FD-ABD8-3038ACC50645}"/>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003.4</c:v>
                </c:pt>
                <c:pt idx="1">
                  <c:v>125.4</c:v>
                </c:pt>
                <c:pt idx="2">
                  <c:v>411</c:v>
                </c:pt>
                <c:pt idx="3">
                  <c:v>0</c:v>
                </c:pt>
                <c:pt idx="4">
                  <c:v>152.69999999999999</c:v>
                </c:pt>
                <c:pt idx="5">
                  <c:v>79.900000000000006</c:v>
                </c:pt>
                <c:pt idx="6">
                  <c:v>32.4</c:v>
                </c:pt>
                <c:pt idx="7">
                  <c:v>2.8</c:v>
                </c:pt>
                <c:pt idx="8">
                  <c:v>24.9</c:v>
                </c:pt>
                <c:pt idx="9">
                  <c:v>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58.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2CF-44FD-ABD8-3038ACC50645}"/>
                </c:ext>
              </c:extLst>
            </c:dLbl>
            <c:dLbl>
              <c:idx val="1"/>
              <c:tx>
                <c:rich>
                  <a:bodyPr/>
                  <a:lstStyle/>
                  <a:p>
                    <a:r>
                      <a:t>1208.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2CF-44FD-ABD8-3038ACC50645}"/>
                </c:ext>
              </c:extLst>
            </c:dLbl>
            <c:dLbl>
              <c:idx val="2"/>
              <c:tx>
                <c:rich>
                  <a:bodyPr/>
                  <a:lstStyle/>
                  <a:p>
                    <a:r>
                      <a:t>4637.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2CF-44FD-ABD8-3038ACC5064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2CF-44FD-ABD8-3038ACC50645}"/>
                </c:ext>
              </c:extLst>
            </c:dLbl>
            <c:dLbl>
              <c:idx val="4"/>
              <c:tx>
                <c:rich>
                  <a:bodyPr/>
                  <a:lstStyle/>
                  <a:p>
                    <a:r>
                      <a:t>1085.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2CF-44FD-ABD8-3038ACC50645}"/>
                </c:ext>
              </c:extLst>
            </c:dLbl>
            <c:dLbl>
              <c:idx val="5"/>
              <c:tx>
                <c:rich>
                  <a:bodyPr/>
                  <a:lstStyle/>
                  <a:p>
                    <a:r>
                      <a:t>122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2CF-44FD-ABD8-3038ACC50645}"/>
                </c:ext>
              </c:extLst>
            </c:dLbl>
            <c:dLbl>
              <c:idx val="6"/>
              <c:tx>
                <c:rich>
                  <a:bodyPr/>
                  <a:lstStyle/>
                  <a:p>
                    <a:r>
                      <a:t>1113.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2CF-44FD-ABD8-3038ACC50645}"/>
                </c:ext>
              </c:extLst>
            </c:dLbl>
            <c:dLbl>
              <c:idx val="7"/>
              <c:tx>
                <c:rich>
                  <a:bodyPr/>
                  <a:lstStyle/>
                  <a:p>
                    <a:r>
                      <a:t>93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2CF-44FD-ABD8-3038ACC50645}"/>
                </c:ext>
              </c:extLst>
            </c:dLbl>
            <c:dLbl>
              <c:idx val="8"/>
              <c:tx>
                <c:rich>
                  <a:bodyPr/>
                  <a:lstStyle/>
                  <a:p>
                    <a:r>
                      <a:t>574.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2CF-44FD-ABD8-3038ACC50645}"/>
                </c:ext>
              </c:extLst>
            </c:dLbl>
            <c:dLbl>
              <c:idx val="9"/>
              <c:tx>
                <c:rich>
                  <a:bodyPr/>
                  <a:lstStyle/>
                  <a:p>
                    <a:r>
                      <a:t>43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2CF-44FD-ABD8-3038ACC5064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58.7932000000001</c:v>
                </c:pt>
                <c:pt idx="1">
                  <c:v>1208.8340000000001</c:v>
                </c:pt>
                <c:pt idx="2">
                  <c:v>4637.2060000000001</c:v>
                </c:pt>
                <c:pt idx="3">
                  <c:v>0</c:v>
                </c:pt>
                <c:pt idx="4">
                  <c:v>1085.8104000000001</c:v>
                </c:pt>
                <c:pt idx="5">
                  <c:v>1229.4118000000001</c:v>
                </c:pt>
                <c:pt idx="6">
                  <c:v>1113.6845000000001</c:v>
                </c:pt>
                <c:pt idx="7">
                  <c:v>932.18669999999997</c:v>
                </c:pt>
                <c:pt idx="8">
                  <c:v>574.66010000000006</c:v>
                </c:pt>
                <c:pt idx="9">
                  <c:v>439.6945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B3EF-4029-9AEE-1AFF10ED5FE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B3EF-4029-9AEE-1AFF10ED5FE7}"/>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215.1</c:v>
                </c:pt>
                <c:pt idx="1">
                  <c:v>26.2</c:v>
                </c:pt>
                <c:pt idx="2">
                  <c:v>93.5</c:v>
                </c:pt>
                <c:pt idx="3">
                  <c:v>0</c:v>
                </c:pt>
                <c:pt idx="4">
                  <c:v>29.6</c:v>
                </c:pt>
                <c:pt idx="5">
                  <c:v>13.5</c:v>
                </c:pt>
                <c:pt idx="6">
                  <c:v>5.9</c:v>
                </c:pt>
                <c:pt idx="7">
                  <c:v>0.6</c:v>
                </c:pt>
                <c:pt idx="8">
                  <c:v>4.4000000000000004</c:v>
                </c:pt>
                <c:pt idx="9">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3EF-4029-9AEE-1AFF10ED5FE7}"/>
                </c:ext>
              </c:extLst>
            </c:dLbl>
            <c:dLbl>
              <c:idx val="1"/>
              <c:tx>
                <c:rich>
                  <a:bodyPr/>
                  <a:lstStyle/>
                  <a:p>
                    <a:r>
                      <a:t>116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EF-4029-9AEE-1AFF10ED5FE7}"/>
                </c:ext>
              </c:extLst>
            </c:dLbl>
            <c:dLbl>
              <c:idx val="2"/>
              <c:tx>
                <c:rich>
                  <a:bodyPr/>
                  <a:lstStyle/>
                  <a:p>
                    <a:r>
                      <a:t>4498.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3EF-4029-9AEE-1AFF10ED5FE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EF-4029-9AEE-1AFF10ED5FE7}"/>
                </c:ext>
              </c:extLst>
            </c:dLbl>
            <c:dLbl>
              <c:idx val="4"/>
              <c:tx>
                <c:rich>
                  <a:bodyPr/>
                  <a:lstStyle/>
                  <a:p>
                    <a:r>
                      <a:t>106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3EF-4029-9AEE-1AFF10ED5FE7}"/>
                </c:ext>
              </c:extLst>
            </c:dLbl>
            <c:dLbl>
              <c:idx val="5"/>
              <c:tx>
                <c:rich>
                  <a:bodyPr/>
                  <a:lstStyle/>
                  <a:p>
                    <a:r>
                      <a:t>1223.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EF-4029-9AEE-1AFF10ED5FE7}"/>
                </c:ext>
              </c:extLst>
            </c:dLbl>
            <c:dLbl>
              <c:idx val="6"/>
              <c:tx>
                <c:rich>
                  <a:bodyPr/>
                  <a:lstStyle/>
                  <a:p>
                    <a:r>
                      <a:t>107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3EF-4029-9AEE-1AFF10ED5FE7}"/>
                </c:ext>
              </c:extLst>
            </c:dLbl>
            <c:dLbl>
              <c:idx val="7"/>
              <c:tx>
                <c:rich>
                  <a:bodyPr/>
                  <a:lstStyle/>
                  <a:p>
                    <a:r>
                      <a:t>925.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EF-4029-9AEE-1AFF10ED5FE7}"/>
                </c:ext>
              </c:extLst>
            </c:dLbl>
            <c:dLbl>
              <c:idx val="8"/>
              <c:tx>
                <c:rich>
                  <a:bodyPr/>
                  <a:lstStyle/>
                  <a:p>
                    <a:r>
                      <a:t>54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3EF-4029-9AEE-1AFF10ED5FE7}"/>
                </c:ext>
              </c:extLst>
            </c:dLbl>
            <c:dLbl>
              <c:idx val="9"/>
              <c:tx>
                <c:rich>
                  <a:bodyPr/>
                  <a:lstStyle/>
                  <a:p>
                    <a:r>
                      <a:t>43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EF-4029-9AEE-1AFF10ED5FE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73.1205</c:v>
                </c:pt>
                <c:pt idx="1">
                  <c:v>1163.913</c:v>
                </c:pt>
                <c:pt idx="2">
                  <c:v>4498.5600999999997</c:v>
                </c:pt>
                <c:pt idx="3">
                  <c:v>0</c:v>
                </c:pt>
                <c:pt idx="4">
                  <c:v>1068.2304999999999</c:v>
                </c:pt>
                <c:pt idx="5">
                  <c:v>1223.3517999999999</c:v>
                </c:pt>
                <c:pt idx="6">
                  <c:v>1077.7547999999999</c:v>
                </c:pt>
                <c:pt idx="7">
                  <c:v>925.3365</c:v>
                </c:pt>
                <c:pt idx="8">
                  <c:v>542.43859999999995</c:v>
                </c:pt>
                <c:pt idx="9">
                  <c:v>431.0600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DB37-4314-8FDA-4FE69C1850A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 O.O.S</c:v>
                  </c:pt>
                </c:lvl>
              </c:multiLvlStrCache>
            </c:multiLvlStrRef>
          </c:cat>
          <c:val>
            <c:numRef>
              <c:f>Sheet1!$C$2:$C$9</c:f>
              <c:numCache>
                <c:formatCode>General</c:formatCode>
                <c:ptCount val="8"/>
                <c:pt idx="0">
                  <c:v>146.4</c:v>
                </c:pt>
                <c:pt idx="1">
                  <c:v>20.5</c:v>
                </c:pt>
                <c:pt idx="2">
                  <c:v>126.2</c:v>
                </c:pt>
                <c:pt idx="3">
                  <c:v>0</c:v>
                </c:pt>
                <c:pt idx="4">
                  <c:v>20.2</c:v>
                </c:pt>
                <c:pt idx="5">
                  <c:v>10.9</c:v>
                </c:pt>
                <c:pt idx="6">
                  <c:v>9.3000000000000007</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B37-4314-8FDA-4FE69C1850AB}"/>
                </c:ext>
              </c:extLst>
            </c:dLbl>
            <c:dLbl>
              <c:idx val="1"/>
              <c:tx>
                <c:rich>
                  <a:bodyPr/>
                  <a:lstStyle/>
                  <a:p>
                    <a:r>
                      <a:t>1194.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B37-4314-8FDA-4FE69C1850AB}"/>
                </c:ext>
              </c:extLst>
            </c:dLbl>
            <c:dLbl>
              <c:idx val="2"/>
              <c:tx>
                <c:rich>
                  <a:bodyPr/>
                  <a:lstStyle/>
                  <a:p>
                    <a:r>
                      <a:t>5526.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B37-4314-8FDA-4FE69C1850A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B37-4314-8FDA-4FE69C1850AB}"/>
                </c:ext>
              </c:extLst>
            </c:dLbl>
            <c:dLbl>
              <c:idx val="4"/>
              <c:tx>
                <c:rich>
                  <a:bodyPr/>
                  <a:lstStyle/>
                  <a:p>
                    <a:r>
                      <a:t>10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B37-4314-8FDA-4FE69C1850AB}"/>
                </c:ext>
              </c:extLst>
            </c:dLbl>
            <c:dLbl>
              <c:idx val="5"/>
              <c:tx>
                <c:rich>
                  <a:bodyPr/>
                  <a:lstStyle/>
                  <a:p>
                    <a:r>
                      <a:t>11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B37-4314-8FDA-4FE69C1850AB}"/>
                </c:ext>
              </c:extLst>
            </c:dLbl>
            <c:dLbl>
              <c:idx val="6"/>
              <c:tx>
                <c:rich>
                  <a:bodyPr/>
                  <a:lstStyle/>
                  <a:p>
                    <a:r>
                      <a:t>998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B37-4314-8FDA-4FE69C1850A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B37-4314-8FDA-4FE69C1850A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 O.O.S</c:v>
                  </c:pt>
                </c:lvl>
              </c:multiLvlStrCache>
            </c:multiLvlStrRef>
          </c:cat>
          <c:val>
            <c:numRef>
              <c:f>Sheet1!$D$2:$D$9</c:f>
              <c:numCache>
                <c:formatCode>General</c:formatCode>
                <c:ptCount val="8"/>
                <c:pt idx="0">
                  <c:v>1390.5033000000001</c:v>
                </c:pt>
                <c:pt idx="1">
                  <c:v>1194.9215999999999</c:v>
                </c:pt>
                <c:pt idx="2">
                  <c:v>5526.0637999999999</c:v>
                </c:pt>
                <c:pt idx="3">
                  <c:v>0</c:v>
                </c:pt>
                <c:pt idx="4">
                  <c:v>1024.1972000000001</c:v>
                </c:pt>
                <c:pt idx="5">
                  <c:v>1141.2</c:v>
                </c:pt>
                <c:pt idx="6">
                  <c:v>9981.3312000000005</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5331-4A59-888E-D4E389D173D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5331-4A59-888E-D4E389D173DD}"/>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95.6</c:v>
                </c:pt>
                <c:pt idx="1">
                  <c:v>19</c:v>
                </c:pt>
                <c:pt idx="2">
                  <c:v>31.9</c:v>
                </c:pt>
                <c:pt idx="3">
                  <c:v>0</c:v>
                </c:pt>
                <c:pt idx="4">
                  <c:v>29.3</c:v>
                </c:pt>
                <c:pt idx="5">
                  <c:v>14.8</c:v>
                </c:pt>
                <c:pt idx="6">
                  <c:v>8.3000000000000007</c:v>
                </c:pt>
                <c:pt idx="7">
                  <c:v>0.3</c:v>
                </c:pt>
                <c:pt idx="8">
                  <c:v>8.1999999999999993</c:v>
                </c:pt>
                <c:pt idx="9">
                  <c:v>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331-4A59-888E-D4E389D173DD}"/>
                </c:ext>
              </c:extLst>
            </c:dLbl>
            <c:dLbl>
              <c:idx val="1"/>
              <c:tx>
                <c:rich>
                  <a:bodyPr/>
                  <a:lstStyle/>
                  <a:p>
                    <a:r>
                      <a:t>1212.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331-4A59-888E-D4E389D173DD}"/>
                </c:ext>
              </c:extLst>
            </c:dLbl>
            <c:dLbl>
              <c:idx val="2"/>
              <c:tx>
                <c:rich>
                  <a:bodyPr/>
                  <a:lstStyle/>
                  <a:p>
                    <a:r>
                      <a:t>320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331-4A59-888E-D4E389D173D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331-4A59-888E-D4E389D173DD}"/>
                </c:ext>
              </c:extLst>
            </c:dLbl>
            <c:dLbl>
              <c:idx val="4"/>
              <c:tx>
                <c:rich>
                  <a:bodyPr/>
                  <a:lstStyle/>
                  <a:p>
                    <a:r>
                      <a:t>107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331-4A59-888E-D4E389D173DD}"/>
                </c:ext>
              </c:extLst>
            </c:dLbl>
            <c:dLbl>
              <c:idx val="5"/>
              <c:tx>
                <c:rich>
                  <a:bodyPr/>
                  <a:lstStyle/>
                  <a:p>
                    <a:r>
                      <a:t>119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331-4A59-888E-D4E389D173DD}"/>
                </c:ext>
              </c:extLst>
            </c:dLbl>
            <c:dLbl>
              <c:idx val="6"/>
              <c:tx>
                <c:rich>
                  <a:bodyPr/>
                  <a:lstStyle/>
                  <a:p>
                    <a:r>
                      <a:t>11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331-4A59-888E-D4E389D173DD}"/>
                </c:ext>
              </c:extLst>
            </c:dLbl>
            <c:dLbl>
              <c:idx val="7"/>
              <c:tx>
                <c:rich>
                  <a:bodyPr/>
                  <a:lstStyle/>
                  <a:p>
                    <a:r>
                      <a:t>97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331-4A59-888E-D4E389D173DD}"/>
                </c:ext>
              </c:extLst>
            </c:dLbl>
            <c:dLbl>
              <c:idx val="8"/>
              <c:tx>
                <c:rich>
                  <a:bodyPr/>
                  <a:lstStyle/>
                  <a:p>
                    <a:r>
                      <a:t>63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331-4A59-888E-D4E389D173DD}"/>
                </c:ext>
              </c:extLst>
            </c:dLbl>
            <c:dLbl>
              <c:idx val="9"/>
              <c:tx>
                <c:rich>
                  <a:bodyPr/>
                  <a:lstStyle/>
                  <a:p>
                    <a:r>
                      <a:t>42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331-4A59-888E-D4E389D173D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13.604</c:v>
                </c:pt>
                <c:pt idx="1">
                  <c:v>1212.6722</c:v>
                </c:pt>
                <c:pt idx="2">
                  <c:v>3202.0178000000001</c:v>
                </c:pt>
                <c:pt idx="3">
                  <c:v>0</c:v>
                </c:pt>
                <c:pt idx="4">
                  <c:v>1076.3668</c:v>
                </c:pt>
                <c:pt idx="5">
                  <c:v>1192.3958</c:v>
                </c:pt>
                <c:pt idx="6">
                  <c:v>1175.4740999999999</c:v>
                </c:pt>
                <c:pt idx="7">
                  <c:v>974.74749999999995</c:v>
                </c:pt>
                <c:pt idx="8">
                  <c:v>631.1431</c:v>
                </c:pt>
                <c:pt idx="9">
                  <c:v>424.4560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D845-40A8-A884-CFD37C6713F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D845-40A8-A884-CFD37C6713FF}"/>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66.3</c:v>
                </c:pt>
                <c:pt idx="1">
                  <c:v>19.399999999999999</c:v>
                </c:pt>
                <c:pt idx="2">
                  <c:v>65.7</c:v>
                </c:pt>
                <c:pt idx="3">
                  <c:v>0</c:v>
                </c:pt>
                <c:pt idx="4">
                  <c:v>23.4</c:v>
                </c:pt>
                <c:pt idx="5">
                  <c:v>11.5</c:v>
                </c:pt>
                <c:pt idx="6">
                  <c:v>5.3</c:v>
                </c:pt>
                <c:pt idx="7">
                  <c:v>0.4</c:v>
                </c:pt>
                <c:pt idx="8">
                  <c:v>3.3</c:v>
                </c:pt>
                <c:pt idx="9">
                  <c:v>1.10000000000000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845-40A8-A884-CFD37C6713FF}"/>
                </c:ext>
              </c:extLst>
            </c:dLbl>
            <c:dLbl>
              <c:idx val="1"/>
              <c:tx>
                <c:rich>
                  <a:bodyPr/>
                  <a:lstStyle/>
                  <a:p>
                    <a:r>
                      <a:t>1170.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845-40A8-A884-CFD37C6713FF}"/>
                </c:ext>
              </c:extLst>
            </c:dLbl>
            <c:dLbl>
              <c:idx val="2"/>
              <c:tx>
                <c:rich>
                  <a:bodyPr/>
                  <a:lstStyle/>
                  <a:p>
                    <a:r>
                      <a:t>465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845-40A8-A884-CFD37C6713F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845-40A8-A884-CFD37C6713FF}"/>
                </c:ext>
              </c:extLst>
            </c:dLbl>
            <c:dLbl>
              <c:idx val="4"/>
              <c:tx>
                <c:rich>
                  <a:bodyPr/>
                  <a:lstStyle/>
                  <a:p>
                    <a:r>
                      <a:t>10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845-40A8-A884-CFD37C6713FF}"/>
                </c:ext>
              </c:extLst>
            </c:dLbl>
            <c:dLbl>
              <c:idx val="5"/>
              <c:tx>
                <c:rich>
                  <a:bodyPr/>
                  <a:lstStyle/>
                  <a:p>
                    <a:r>
                      <a:t>120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845-40A8-A884-CFD37C6713FF}"/>
                </c:ext>
              </c:extLst>
            </c:dLbl>
            <c:dLbl>
              <c:idx val="6"/>
              <c:tx>
                <c:rich>
                  <a:bodyPr/>
                  <a:lstStyle/>
                  <a:p>
                    <a:r>
                      <a:t>11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845-40A8-A884-CFD37C6713FF}"/>
                </c:ext>
              </c:extLst>
            </c:dLbl>
            <c:dLbl>
              <c:idx val="7"/>
              <c:tx>
                <c:rich>
                  <a:bodyPr/>
                  <a:lstStyle/>
                  <a:p>
                    <a:r>
                      <a:t>94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845-40A8-A884-CFD37C6713FF}"/>
                </c:ext>
              </c:extLst>
            </c:dLbl>
            <c:dLbl>
              <c:idx val="8"/>
              <c:tx>
                <c:rich>
                  <a:bodyPr/>
                  <a:lstStyle/>
                  <a:p>
                    <a:r>
                      <a:t>55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845-40A8-A884-CFD37C6713FF}"/>
                </c:ext>
              </c:extLst>
            </c:dLbl>
            <c:dLbl>
              <c:idx val="9"/>
              <c:tx>
                <c:rich>
                  <a:bodyPr/>
                  <a:lstStyle/>
                  <a:p>
                    <a:r>
                      <a:t>43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845-40A8-A884-CFD37C6713F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28.2991999999999</c:v>
                </c:pt>
                <c:pt idx="1">
                  <c:v>1170.4743000000001</c:v>
                </c:pt>
                <c:pt idx="2">
                  <c:v>4651.8679000000002</c:v>
                </c:pt>
                <c:pt idx="3">
                  <c:v>0</c:v>
                </c:pt>
                <c:pt idx="4">
                  <c:v>1049.4966999999999</c:v>
                </c:pt>
                <c:pt idx="5">
                  <c:v>1201.0353</c:v>
                </c:pt>
                <c:pt idx="6">
                  <c:v>1111.4049</c:v>
                </c:pt>
                <c:pt idx="7">
                  <c:v>949.65440000000001</c:v>
                </c:pt>
                <c:pt idx="8">
                  <c:v>558.80409999999995</c:v>
                </c:pt>
                <c:pt idx="9">
                  <c:v>433.25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09B-49A4-95FA-5DD964F08BF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609B-49A4-95FA-5DD964F08BF6}"/>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52.9</c:v>
                </c:pt>
                <c:pt idx="1">
                  <c:v>23.6</c:v>
                </c:pt>
                <c:pt idx="2">
                  <c:v>62.7</c:v>
                </c:pt>
                <c:pt idx="3">
                  <c:v>0</c:v>
                </c:pt>
                <c:pt idx="4">
                  <c:v>28.3</c:v>
                </c:pt>
                <c:pt idx="5">
                  <c:v>15.6</c:v>
                </c:pt>
                <c:pt idx="6">
                  <c:v>5.9</c:v>
                </c:pt>
                <c:pt idx="7">
                  <c:v>0.7</c:v>
                </c:pt>
                <c:pt idx="8">
                  <c:v>3.8</c:v>
                </c:pt>
                <c:pt idx="9">
                  <c:v>1.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40.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09B-49A4-95FA-5DD964F08BF6}"/>
                </c:ext>
              </c:extLst>
            </c:dLbl>
            <c:dLbl>
              <c:idx val="1"/>
              <c:tx>
                <c:rich>
                  <a:bodyPr/>
                  <a:lstStyle/>
                  <a:p>
                    <a:r>
                      <a:t>124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09B-49A4-95FA-5DD964F08BF6}"/>
                </c:ext>
              </c:extLst>
            </c:dLbl>
            <c:dLbl>
              <c:idx val="2"/>
              <c:tx>
                <c:rich>
                  <a:bodyPr/>
                  <a:lstStyle/>
                  <a:p>
                    <a:r>
                      <a:t>4720.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09B-49A4-95FA-5DD964F08BF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09B-49A4-95FA-5DD964F08BF6}"/>
                </c:ext>
              </c:extLst>
            </c:dLbl>
            <c:dLbl>
              <c:idx val="4"/>
              <c:tx>
                <c:rich>
                  <a:bodyPr/>
                  <a:lstStyle/>
                  <a:p>
                    <a:r>
                      <a:t>112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09B-49A4-95FA-5DD964F08BF6}"/>
                </c:ext>
              </c:extLst>
            </c:dLbl>
            <c:dLbl>
              <c:idx val="5"/>
              <c:tx>
                <c:rich>
                  <a:bodyPr/>
                  <a:lstStyle/>
                  <a:p>
                    <a:r>
                      <a:t>1290.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09B-49A4-95FA-5DD964F08BF6}"/>
                </c:ext>
              </c:extLst>
            </c:dLbl>
            <c:dLbl>
              <c:idx val="6"/>
              <c:tx>
                <c:rich>
                  <a:bodyPr/>
                  <a:lstStyle/>
                  <a:p>
                    <a:r>
                      <a:t>109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09B-49A4-95FA-5DD964F08BF6}"/>
                </c:ext>
              </c:extLst>
            </c:dLbl>
            <c:dLbl>
              <c:idx val="7"/>
              <c:tx>
                <c:rich>
                  <a:bodyPr/>
                  <a:lstStyle/>
                  <a:p>
                    <a:r>
                      <a:t>95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09B-49A4-95FA-5DD964F08BF6}"/>
                </c:ext>
              </c:extLst>
            </c:dLbl>
            <c:dLbl>
              <c:idx val="8"/>
              <c:tx>
                <c:rich>
                  <a:bodyPr/>
                  <a:lstStyle/>
                  <a:p>
                    <a:r>
                      <a:t>55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09B-49A4-95FA-5DD964F08BF6}"/>
                </c:ext>
              </c:extLst>
            </c:dLbl>
            <c:dLbl>
              <c:idx val="9"/>
              <c:tx>
                <c:rich>
                  <a:bodyPr/>
                  <a:lstStyle/>
                  <a:p>
                    <a:r>
                      <a:t>448.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09B-49A4-95FA-5DD964F08BF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40.3395</c:v>
                </c:pt>
                <c:pt idx="1">
                  <c:v>1247.7497000000001</c:v>
                </c:pt>
                <c:pt idx="2">
                  <c:v>4720.1136999999999</c:v>
                </c:pt>
                <c:pt idx="3">
                  <c:v>0</c:v>
                </c:pt>
                <c:pt idx="4">
                  <c:v>1124.4306999999999</c:v>
                </c:pt>
                <c:pt idx="5">
                  <c:v>1290.6052</c:v>
                </c:pt>
                <c:pt idx="6">
                  <c:v>1093.2354</c:v>
                </c:pt>
                <c:pt idx="7">
                  <c:v>951.13599999999997</c:v>
                </c:pt>
                <c:pt idx="8">
                  <c:v>553.99959999999999</c:v>
                </c:pt>
                <c:pt idx="9">
                  <c:v>448.9503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E447-4C42-AAB0-99E22DD6A50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E447-4C42-AAB0-99E22DD6A50F}"/>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27.1</c:v>
                </c:pt>
                <c:pt idx="1">
                  <c:v>16.600000000000001</c:v>
                </c:pt>
                <c:pt idx="2">
                  <c:v>31.1</c:v>
                </c:pt>
                <c:pt idx="3">
                  <c:v>0</c:v>
                </c:pt>
                <c:pt idx="4">
                  <c:v>21.8</c:v>
                </c:pt>
                <c:pt idx="5">
                  <c:v>13.5</c:v>
                </c:pt>
                <c:pt idx="6">
                  <c:v>4</c:v>
                </c:pt>
                <c:pt idx="7">
                  <c:v>0.4</c:v>
                </c:pt>
                <c:pt idx="8">
                  <c:v>3</c:v>
                </c:pt>
                <c:pt idx="9">
                  <c:v>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3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447-4C42-AAB0-99E22DD6A50F}"/>
                </c:ext>
              </c:extLst>
            </c:dLbl>
            <c:dLbl>
              <c:idx val="1"/>
              <c:tx>
                <c:rich>
                  <a:bodyPr/>
                  <a:lstStyle/>
                  <a:p>
                    <a:r>
                      <a:t>1293.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447-4C42-AAB0-99E22DD6A50F}"/>
                </c:ext>
              </c:extLst>
            </c:dLbl>
            <c:dLbl>
              <c:idx val="2"/>
              <c:tx>
                <c:rich>
                  <a:bodyPr/>
                  <a:lstStyle/>
                  <a:p>
                    <a:r>
                      <a:t>406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447-4C42-AAB0-99E22DD6A50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447-4C42-AAB0-99E22DD6A50F}"/>
                </c:ext>
              </c:extLst>
            </c:dLbl>
            <c:dLbl>
              <c:idx val="4"/>
              <c:tx>
                <c:rich>
                  <a:bodyPr/>
                  <a:lstStyle/>
                  <a:p>
                    <a:r>
                      <a:t>118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447-4C42-AAB0-99E22DD6A50F}"/>
                </c:ext>
              </c:extLst>
            </c:dLbl>
            <c:dLbl>
              <c:idx val="5"/>
              <c:tx>
                <c:rich>
                  <a:bodyPr/>
                  <a:lstStyle/>
                  <a:p>
                    <a:r>
                      <a:t>131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447-4C42-AAB0-99E22DD6A50F}"/>
                </c:ext>
              </c:extLst>
            </c:dLbl>
            <c:dLbl>
              <c:idx val="6"/>
              <c:tx>
                <c:rich>
                  <a:bodyPr/>
                  <a:lstStyle/>
                  <a:p>
                    <a:r>
                      <a:t>114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E447-4C42-AAB0-99E22DD6A50F}"/>
                </c:ext>
              </c:extLst>
            </c:dLbl>
            <c:dLbl>
              <c:idx val="7"/>
              <c:tx>
                <c:rich>
                  <a:bodyPr/>
                  <a:lstStyle/>
                  <a:p>
                    <a:r>
                      <a:t>905.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E447-4C42-AAB0-99E22DD6A50F}"/>
                </c:ext>
              </c:extLst>
            </c:dLbl>
            <c:dLbl>
              <c:idx val="8"/>
              <c:tx>
                <c:rich>
                  <a:bodyPr/>
                  <a:lstStyle/>
                  <a:p>
                    <a:r>
                      <a:t>57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E447-4C42-AAB0-99E22DD6A50F}"/>
                </c:ext>
              </c:extLst>
            </c:dLbl>
            <c:dLbl>
              <c:idx val="9"/>
              <c:tx>
                <c:rich>
                  <a:bodyPr/>
                  <a:lstStyle/>
                  <a:p>
                    <a:r>
                      <a:t>43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E447-4C42-AAB0-99E22DD6A50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438.8028999999999</c:v>
                </c:pt>
                <c:pt idx="1">
                  <c:v>1293.665</c:v>
                </c:pt>
                <c:pt idx="2">
                  <c:v>4061.2671999999998</c:v>
                </c:pt>
                <c:pt idx="3">
                  <c:v>0</c:v>
                </c:pt>
                <c:pt idx="4">
                  <c:v>1182.8997999999999</c:v>
                </c:pt>
                <c:pt idx="5">
                  <c:v>1316.9888000000001</c:v>
                </c:pt>
                <c:pt idx="6">
                  <c:v>1142.4345000000001</c:v>
                </c:pt>
                <c:pt idx="7">
                  <c:v>905.03060000000005</c:v>
                </c:pt>
                <c:pt idx="8">
                  <c:v>578.11770000000001</c:v>
                </c:pt>
                <c:pt idx="9">
                  <c:v>432.3743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C12-486D-B96D-CF4890E8EDE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6C12-486D-B96D-CF4890E8EDE0}"/>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003.4</c:v>
                </c:pt>
                <c:pt idx="1">
                  <c:v>12.5</c:v>
                </c:pt>
                <c:pt idx="2">
                  <c:v>411</c:v>
                </c:pt>
                <c:pt idx="3">
                  <c:v>0</c:v>
                </c:pt>
                <c:pt idx="4">
                  <c:v>152.69999999999999</c:v>
                </c:pt>
                <c:pt idx="5">
                  <c:v>0</c:v>
                </c:pt>
                <c:pt idx="6">
                  <c:v>32.4</c:v>
                </c:pt>
                <c:pt idx="7">
                  <c:v>0</c:v>
                </c:pt>
                <c:pt idx="8">
                  <c:v>24.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58.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C12-486D-B96D-CF4890E8EDE0}"/>
                </c:ext>
              </c:extLst>
            </c:dLbl>
            <c:dLbl>
              <c:idx val="1"/>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C12-486D-B96D-CF4890E8EDE0}"/>
                </c:ext>
              </c:extLst>
            </c:dLbl>
            <c:dLbl>
              <c:idx val="2"/>
              <c:tx>
                <c:rich>
                  <a:bodyPr/>
                  <a:lstStyle/>
                  <a:p>
                    <a:r>
                      <a:t>4637.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C12-486D-B96D-CF4890E8EDE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C12-486D-B96D-CF4890E8EDE0}"/>
                </c:ext>
              </c:extLst>
            </c:dLbl>
            <c:dLbl>
              <c:idx val="4"/>
              <c:tx>
                <c:rich>
                  <a:bodyPr/>
                  <a:lstStyle/>
                  <a:p>
                    <a:r>
                      <a:t>1085.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C12-486D-B96D-CF4890E8EDE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C12-486D-B96D-CF4890E8EDE0}"/>
                </c:ext>
              </c:extLst>
            </c:dLbl>
            <c:dLbl>
              <c:idx val="6"/>
              <c:tx>
                <c:rich>
                  <a:bodyPr/>
                  <a:lstStyle/>
                  <a:p>
                    <a:r>
                      <a:t>1113.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C12-486D-B96D-CF4890E8EDE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C12-486D-B96D-CF4890E8EDE0}"/>
                </c:ext>
              </c:extLst>
            </c:dLbl>
            <c:dLbl>
              <c:idx val="8"/>
              <c:tx>
                <c:rich>
                  <a:bodyPr/>
                  <a:lstStyle/>
                  <a:p>
                    <a:r>
                      <a:t>574.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C12-486D-B96D-CF4890E8EDE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C12-486D-B96D-CF4890E8EDE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58.7932000000001</c:v>
                </c:pt>
                <c:pt idx="1">
                  <c:v>4025.5318000000002</c:v>
                </c:pt>
                <c:pt idx="2">
                  <c:v>4637.2060000000001</c:v>
                </c:pt>
                <c:pt idx="3">
                  <c:v>0</c:v>
                </c:pt>
                <c:pt idx="4">
                  <c:v>1085.8104000000001</c:v>
                </c:pt>
                <c:pt idx="5">
                  <c:v>0</c:v>
                </c:pt>
                <c:pt idx="6">
                  <c:v>1113.6845000000001</c:v>
                </c:pt>
                <c:pt idx="7">
                  <c:v>0</c:v>
                </c:pt>
                <c:pt idx="8">
                  <c:v>574.66010000000006</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BEC0-49CF-898F-12381C84C62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BEC0-49CF-898F-12381C84C627}"/>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215.1</c:v>
                </c:pt>
                <c:pt idx="1">
                  <c:v>3</c:v>
                </c:pt>
                <c:pt idx="2">
                  <c:v>93.5</c:v>
                </c:pt>
                <c:pt idx="3">
                  <c:v>0</c:v>
                </c:pt>
                <c:pt idx="4">
                  <c:v>29.6</c:v>
                </c:pt>
                <c:pt idx="5">
                  <c:v>0</c:v>
                </c:pt>
                <c:pt idx="6">
                  <c:v>5.9</c:v>
                </c:pt>
                <c:pt idx="7">
                  <c:v>0</c:v>
                </c:pt>
                <c:pt idx="8">
                  <c:v>4.40000000000000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EC0-49CF-898F-12381C84C627}"/>
                </c:ext>
              </c:extLst>
            </c:dLbl>
            <c:dLbl>
              <c:idx val="1"/>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EC0-49CF-898F-12381C84C627}"/>
                </c:ext>
              </c:extLst>
            </c:dLbl>
            <c:dLbl>
              <c:idx val="2"/>
              <c:tx>
                <c:rich>
                  <a:bodyPr/>
                  <a:lstStyle/>
                  <a:p>
                    <a:r>
                      <a:t>4498.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EC0-49CF-898F-12381C84C62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EC0-49CF-898F-12381C84C627}"/>
                </c:ext>
              </c:extLst>
            </c:dLbl>
            <c:dLbl>
              <c:idx val="4"/>
              <c:tx>
                <c:rich>
                  <a:bodyPr/>
                  <a:lstStyle/>
                  <a:p>
                    <a:r>
                      <a:t>106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EC0-49CF-898F-12381C84C62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EC0-49CF-898F-12381C84C627}"/>
                </c:ext>
              </c:extLst>
            </c:dLbl>
            <c:dLbl>
              <c:idx val="6"/>
              <c:tx>
                <c:rich>
                  <a:bodyPr/>
                  <a:lstStyle/>
                  <a:p>
                    <a:r>
                      <a:t>107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EC0-49CF-898F-12381C84C62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EC0-49CF-898F-12381C84C627}"/>
                </c:ext>
              </c:extLst>
            </c:dLbl>
            <c:dLbl>
              <c:idx val="8"/>
              <c:tx>
                <c:rich>
                  <a:bodyPr/>
                  <a:lstStyle/>
                  <a:p>
                    <a:r>
                      <a:t>54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EC0-49CF-898F-12381C84C62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EC0-49CF-898F-12381C84C62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73.1205</c:v>
                </c:pt>
                <c:pt idx="1">
                  <c:v>4341.9049999999997</c:v>
                </c:pt>
                <c:pt idx="2">
                  <c:v>4498.5600999999997</c:v>
                </c:pt>
                <c:pt idx="3">
                  <c:v>0</c:v>
                </c:pt>
                <c:pt idx="4">
                  <c:v>1068.2304999999999</c:v>
                </c:pt>
                <c:pt idx="5">
                  <c:v>0</c:v>
                </c:pt>
                <c:pt idx="6">
                  <c:v>1077.7547999999999</c:v>
                </c:pt>
                <c:pt idx="7">
                  <c:v>0</c:v>
                </c:pt>
                <c:pt idx="8">
                  <c:v>542.4385999999999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E42-4076-83B7-8CDFD8C24FC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 O.O.S</c:v>
                  </c:pt>
                </c:lvl>
              </c:multiLvlStrCache>
            </c:multiLvlStrRef>
          </c:cat>
          <c:val>
            <c:numRef>
              <c:f>Sheet1!$C$2:$C$9</c:f>
              <c:numCache>
                <c:formatCode>General</c:formatCode>
                <c:ptCount val="8"/>
                <c:pt idx="0">
                  <c:v>146.4</c:v>
                </c:pt>
                <c:pt idx="1">
                  <c:v>1.9</c:v>
                </c:pt>
                <c:pt idx="2">
                  <c:v>126.2</c:v>
                </c:pt>
                <c:pt idx="3">
                  <c:v>0</c:v>
                </c:pt>
                <c:pt idx="4">
                  <c:v>20.2</c:v>
                </c:pt>
                <c:pt idx="5">
                  <c:v>0</c:v>
                </c:pt>
                <c:pt idx="6">
                  <c:v>9.3000000000000007</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E42-4076-83B7-8CDFD8C24FCC}"/>
                </c:ext>
              </c:extLst>
            </c:dLbl>
            <c:dLbl>
              <c:idx val="1"/>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E42-4076-83B7-8CDFD8C24FCC}"/>
                </c:ext>
              </c:extLst>
            </c:dLbl>
            <c:dLbl>
              <c:idx val="2"/>
              <c:tx>
                <c:rich>
                  <a:bodyPr/>
                  <a:lstStyle/>
                  <a:p>
                    <a:r>
                      <a:t>5526.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E42-4076-83B7-8CDFD8C24FC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E42-4076-83B7-8CDFD8C24FCC}"/>
                </c:ext>
              </c:extLst>
            </c:dLbl>
            <c:dLbl>
              <c:idx val="4"/>
              <c:tx>
                <c:rich>
                  <a:bodyPr/>
                  <a:lstStyle/>
                  <a:p>
                    <a:r>
                      <a:t>10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E42-4076-83B7-8CDFD8C24FC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E42-4076-83B7-8CDFD8C24FCC}"/>
                </c:ext>
              </c:extLst>
            </c:dLbl>
            <c:dLbl>
              <c:idx val="6"/>
              <c:tx>
                <c:rich>
                  <a:bodyPr/>
                  <a:lstStyle/>
                  <a:p>
                    <a:r>
                      <a:t>998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E42-4076-83B7-8CDFD8C24FC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E42-4076-83B7-8CDFD8C24FC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 O.O.S</c:v>
                  </c:pt>
                </c:lvl>
              </c:multiLvlStrCache>
            </c:multiLvlStrRef>
          </c:cat>
          <c:val>
            <c:numRef>
              <c:f>Sheet1!$D$2:$D$9</c:f>
              <c:numCache>
                <c:formatCode>General</c:formatCode>
                <c:ptCount val="8"/>
                <c:pt idx="0">
                  <c:v>1390.5033000000001</c:v>
                </c:pt>
                <c:pt idx="1">
                  <c:v>4279.4597999999996</c:v>
                </c:pt>
                <c:pt idx="2">
                  <c:v>5526.0637999999999</c:v>
                </c:pt>
                <c:pt idx="3">
                  <c:v>0</c:v>
                </c:pt>
                <c:pt idx="4">
                  <c:v>1024.1972000000001</c:v>
                </c:pt>
                <c:pt idx="5">
                  <c:v>0</c:v>
                </c:pt>
                <c:pt idx="6">
                  <c:v>9981.3312000000005</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3094F0-F9BB-4030-80AB-A38856915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EC0E0F-DAFD-46A9-B62B-EB2864873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3442BC-15AE-4376-A5DF-7D77A979D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4C1FF7-3A16-4F3E-BD67-FA5737006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D88869-1D71-4B3B-B296-D2487F51E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D6DFC0-3448-46B5-A53B-4E45D1265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048A86-1691-4A38-A57E-673FB3612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24E080-90B9-4A0F-975E-6F835955C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0179</c:v>
                </c:pt>
                <c:pt idx="1">
                  <c:v>211.3991</c:v>
                </c:pt>
                <c:pt idx="2">
                  <c:v>225.77189999999999</c:v>
                </c:pt>
                <c:pt idx="3">
                  <c:v>589.75840000000005</c:v>
                </c:pt>
                <c:pt idx="4">
                  <c:v>290.10489999999999</c:v>
                </c:pt>
                <c:pt idx="5">
                  <c:v>87.547899999999998</c:v>
                </c:pt>
                <c:pt idx="6">
                  <c:v>592.57079999999996</c:v>
                </c:pt>
                <c:pt idx="7">
                  <c:v>214.86019999999999</c:v>
                </c:pt>
              </c:numCache>
            </c:numRef>
          </c:xVal>
          <c:yVal>
            <c:numRef>
              <c:f>Sheet1!$B$2:$B$9</c:f>
              <c:numCache>
                <c:formatCode>General</c:formatCode>
                <c:ptCount val="8"/>
                <c:pt idx="0">
                  <c:v>1.0189999999999999</c:v>
                </c:pt>
                <c:pt idx="1">
                  <c:v>0.72799999999999998</c:v>
                </c:pt>
                <c:pt idx="2">
                  <c:v>0.71</c:v>
                </c:pt>
                <c:pt idx="3">
                  <c:v>3.7629999999999999</c:v>
                </c:pt>
                <c:pt idx="4">
                  <c:v>1.915</c:v>
                </c:pt>
                <c:pt idx="5">
                  <c:v>0.434</c:v>
                </c:pt>
                <c:pt idx="6">
                  <c:v>5.1369999999999996</c:v>
                </c:pt>
                <c:pt idx="7">
                  <c:v>2.5649999999999999</c:v>
                </c:pt>
              </c:numCache>
            </c:numRef>
          </c:yVal>
          <c:bubbleSize>
            <c:numRef>
              <c:f>Sheet1!$C$2:$C$9</c:f>
              <c:numCache>
                <c:formatCode>General</c:formatCode>
                <c:ptCount val="8"/>
                <c:pt idx="0">
                  <c:v>77257194</c:v>
                </c:pt>
                <c:pt idx="1">
                  <c:v>38488805</c:v>
                </c:pt>
                <c:pt idx="2">
                  <c:v>24037481</c:v>
                </c:pt>
                <c:pt idx="3">
                  <c:v>17357178</c:v>
                </c:pt>
                <c:pt idx="4">
                  <c:v>16158843</c:v>
                </c:pt>
                <c:pt idx="5">
                  <c:v>9858772</c:v>
                </c:pt>
                <c:pt idx="6">
                  <c:v>6637385</c:v>
                </c:pt>
                <c:pt idx="7">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50D5-4156-A3D9-D0134C842CB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50D5-4156-A3D9-D0134C842CB3}"/>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95.6</c:v>
                </c:pt>
                <c:pt idx="1">
                  <c:v>2.2000000000000002</c:v>
                </c:pt>
                <c:pt idx="2">
                  <c:v>31.9</c:v>
                </c:pt>
                <c:pt idx="3">
                  <c:v>0</c:v>
                </c:pt>
                <c:pt idx="4">
                  <c:v>29.3</c:v>
                </c:pt>
                <c:pt idx="5">
                  <c:v>0</c:v>
                </c:pt>
                <c:pt idx="6">
                  <c:v>8.3000000000000007</c:v>
                </c:pt>
                <c:pt idx="7">
                  <c:v>0</c:v>
                </c:pt>
                <c:pt idx="8">
                  <c:v>8.199999999999999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0D5-4156-A3D9-D0134C842CB3}"/>
                </c:ext>
              </c:extLst>
            </c:dLbl>
            <c:dLbl>
              <c:idx val="1"/>
              <c:tx>
                <c:rich>
                  <a:bodyPr/>
                  <a:lstStyle/>
                  <a:p>
                    <a:r>
                      <a:t>310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0D5-4156-A3D9-D0134C842CB3}"/>
                </c:ext>
              </c:extLst>
            </c:dLbl>
            <c:dLbl>
              <c:idx val="2"/>
              <c:tx>
                <c:rich>
                  <a:bodyPr/>
                  <a:lstStyle/>
                  <a:p>
                    <a:r>
                      <a:t>320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0D5-4156-A3D9-D0134C842CB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0D5-4156-A3D9-D0134C842CB3}"/>
                </c:ext>
              </c:extLst>
            </c:dLbl>
            <c:dLbl>
              <c:idx val="4"/>
              <c:tx>
                <c:rich>
                  <a:bodyPr/>
                  <a:lstStyle/>
                  <a:p>
                    <a:r>
                      <a:t>107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0D5-4156-A3D9-D0134C842CB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0D5-4156-A3D9-D0134C842CB3}"/>
                </c:ext>
              </c:extLst>
            </c:dLbl>
            <c:dLbl>
              <c:idx val="6"/>
              <c:tx>
                <c:rich>
                  <a:bodyPr/>
                  <a:lstStyle/>
                  <a:p>
                    <a:r>
                      <a:t>11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0D5-4156-A3D9-D0134C842CB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0D5-4156-A3D9-D0134C842CB3}"/>
                </c:ext>
              </c:extLst>
            </c:dLbl>
            <c:dLbl>
              <c:idx val="8"/>
              <c:tx>
                <c:rich>
                  <a:bodyPr/>
                  <a:lstStyle/>
                  <a:p>
                    <a:r>
                      <a:t>63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0D5-4156-A3D9-D0134C842CB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0D5-4156-A3D9-D0134C842CB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13.604</c:v>
                </c:pt>
                <c:pt idx="1">
                  <c:v>3103.4389000000001</c:v>
                </c:pt>
                <c:pt idx="2">
                  <c:v>3202.0178000000001</c:v>
                </c:pt>
                <c:pt idx="3">
                  <c:v>0</c:v>
                </c:pt>
                <c:pt idx="4">
                  <c:v>1076.3668</c:v>
                </c:pt>
                <c:pt idx="5">
                  <c:v>0</c:v>
                </c:pt>
                <c:pt idx="6">
                  <c:v>1175.4740999999999</c:v>
                </c:pt>
                <c:pt idx="7">
                  <c:v>0</c:v>
                </c:pt>
                <c:pt idx="8">
                  <c:v>631.143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BCF7-4761-8342-A064585B509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BCF7-4761-8342-A064585B509E}"/>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66.3</c:v>
                </c:pt>
                <c:pt idx="1">
                  <c:v>1.8</c:v>
                </c:pt>
                <c:pt idx="2">
                  <c:v>65.7</c:v>
                </c:pt>
                <c:pt idx="3">
                  <c:v>0</c:v>
                </c:pt>
                <c:pt idx="4">
                  <c:v>23.4</c:v>
                </c:pt>
                <c:pt idx="5">
                  <c:v>0</c:v>
                </c:pt>
                <c:pt idx="6">
                  <c:v>5.3</c:v>
                </c:pt>
                <c:pt idx="7">
                  <c:v>0</c:v>
                </c:pt>
                <c:pt idx="8">
                  <c:v>3.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CF7-4761-8342-A064585B509E}"/>
                </c:ext>
              </c:extLst>
            </c:dLbl>
            <c:dLbl>
              <c:idx val="1"/>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CF7-4761-8342-A064585B509E}"/>
                </c:ext>
              </c:extLst>
            </c:dLbl>
            <c:dLbl>
              <c:idx val="2"/>
              <c:tx>
                <c:rich>
                  <a:bodyPr/>
                  <a:lstStyle/>
                  <a:p>
                    <a:r>
                      <a:t>465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CF7-4761-8342-A064585B509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CF7-4761-8342-A064585B509E}"/>
                </c:ext>
              </c:extLst>
            </c:dLbl>
            <c:dLbl>
              <c:idx val="4"/>
              <c:tx>
                <c:rich>
                  <a:bodyPr/>
                  <a:lstStyle/>
                  <a:p>
                    <a:r>
                      <a:t>10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CF7-4761-8342-A064585B509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CF7-4761-8342-A064585B509E}"/>
                </c:ext>
              </c:extLst>
            </c:dLbl>
            <c:dLbl>
              <c:idx val="6"/>
              <c:tx>
                <c:rich>
                  <a:bodyPr/>
                  <a:lstStyle/>
                  <a:p>
                    <a:r>
                      <a:t>111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CF7-4761-8342-A064585B509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CF7-4761-8342-A064585B509E}"/>
                </c:ext>
              </c:extLst>
            </c:dLbl>
            <c:dLbl>
              <c:idx val="8"/>
              <c:tx>
                <c:rich>
                  <a:bodyPr/>
                  <a:lstStyle/>
                  <a:p>
                    <a:r>
                      <a:t>55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CF7-4761-8342-A064585B509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CF7-4761-8342-A064585B509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28.2991999999999</c:v>
                </c:pt>
                <c:pt idx="1">
                  <c:v>4233.1399000000001</c:v>
                </c:pt>
                <c:pt idx="2">
                  <c:v>4651.8679000000002</c:v>
                </c:pt>
                <c:pt idx="3">
                  <c:v>0</c:v>
                </c:pt>
                <c:pt idx="4">
                  <c:v>1049.4966999999999</c:v>
                </c:pt>
                <c:pt idx="5">
                  <c:v>0</c:v>
                </c:pt>
                <c:pt idx="6">
                  <c:v>1111.4049</c:v>
                </c:pt>
                <c:pt idx="7">
                  <c:v>0</c:v>
                </c:pt>
                <c:pt idx="8">
                  <c:v>558.8040999999999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4467-4599-8B5A-D4A77751D7A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4467-4599-8B5A-D4A77751D7A5}"/>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52.9</c:v>
                </c:pt>
                <c:pt idx="1">
                  <c:v>2</c:v>
                </c:pt>
                <c:pt idx="2">
                  <c:v>62.7</c:v>
                </c:pt>
                <c:pt idx="3">
                  <c:v>0</c:v>
                </c:pt>
                <c:pt idx="4">
                  <c:v>28.3</c:v>
                </c:pt>
                <c:pt idx="5">
                  <c:v>0</c:v>
                </c:pt>
                <c:pt idx="6">
                  <c:v>5.9</c:v>
                </c:pt>
                <c:pt idx="7">
                  <c:v>0</c:v>
                </c:pt>
                <c:pt idx="8">
                  <c:v>3.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40.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467-4599-8B5A-D4A77751D7A5}"/>
                </c:ext>
              </c:extLst>
            </c:dLbl>
            <c:dLbl>
              <c:idx val="1"/>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467-4599-8B5A-D4A77751D7A5}"/>
                </c:ext>
              </c:extLst>
            </c:dLbl>
            <c:dLbl>
              <c:idx val="2"/>
              <c:tx>
                <c:rich>
                  <a:bodyPr/>
                  <a:lstStyle/>
                  <a:p>
                    <a:r>
                      <a:t>4720.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467-4599-8B5A-D4A77751D7A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467-4599-8B5A-D4A77751D7A5}"/>
                </c:ext>
              </c:extLst>
            </c:dLbl>
            <c:dLbl>
              <c:idx val="4"/>
              <c:tx>
                <c:rich>
                  <a:bodyPr/>
                  <a:lstStyle/>
                  <a:p>
                    <a:r>
                      <a:t>112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467-4599-8B5A-D4A77751D7A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467-4599-8B5A-D4A77751D7A5}"/>
                </c:ext>
              </c:extLst>
            </c:dLbl>
            <c:dLbl>
              <c:idx val="6"/>
              <c:tx>
                <c:rich>
                  <a:bodyPr/>
                  <a:lstStyle/>
                  <a:p>
                    <a:r>
                      <a:t>109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467-4599-8B5A-D4A77751D7A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467-4599-8B5A-D4A77751D7A5}"/>
                </c:ext>
              </c:extLst>
            </c:dLbl>
            <c:dLbl>
              <c:idx val="8"/>
              <c:tx>
                <c:rich>
                  <a:bodyPr/>
                  <a:lstStyle/>
                  <a:p>
                    <a:r>
                      <a:t>55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467-4599-8B5A-D4A77751D7A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467-4599-8B5A-D4A77751D7A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40.3395</c:v>
                </c:pt>
                <c:pt idx="1">
                  <c:v>4326.9489999999996</c:v>
                </c:pt>
                <c:pt idx="2">
                  <c:v>4720.1136999999999</c:v>
                </c:pt>
                <c:pt idx="3">
                  <c:v>0</c:v>
                </c:pt>
                <c:pt idx="4">
                  <c:v>1124.4306999999999</c:v>
                </c:pt>
                <c:pt idx="5">
                  <c:v>0</c:v>
                </c:pt>
                <c:pt idx="6">
                  <c:v>1093.2354</c:v>
                </c:pt>
                <c:pt idx="7">
                  <c:v>0</c:v>
                </c:pt>
                <c:pt idx="8">
                  <c:v>553.9995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776-4901-84E7-2ED92DA58A0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776-4901-84E7-2ED92DA58A0D}"/>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27.1</c:v>
                </c:pt>
                <c:pt idx="1">
                  <c:v>1.5</c:v>
                </c:pt>
                <c:pt idx="2">
                  <c:v>31.1</c:v>
                </c:pt>
                <c:pt idx="3">
                  <c:v>0</c:v>
                </c:pt>
                <c:pt idx="4">
                  <c:v>21.8</c:v>
                </c:pt>
                <c:pt idx="5">
                  <c:v>0</c:v>
                </c:pt>
                <c:pt idx="6">
                  <c:v>4</c:v>
                </c:pt>
                <c:pt idx="7">
                  <c:v>0</c:v>
                </c:pt>
                <c:pt idx="8">
                  <c:v>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3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776-4901-84E7-2ED92DA58A0D}"/>
                </c:ext>
              </c:extLst>
            </c:dLbl>
            <c:dLbl>
              <c:idx val="1"/>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776-4901-84E7-2ED92DA58A0D}"/>
                </c:ext>
              </c:extLst>
            </c:dLbl>
            <c:dLbl>
              <c:idx val="2"/>
              <c:tx>
                <c:rich>
                  <a:bodyPr/>
                  <a:lstStyle/>
                  <a:p>
                    <a:r>
                      <a:t>406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776-4901-84E7-2ED92DA58A0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776-4901-84E7-2ED92DA58A0D}"/>
                </c:ext>
              </c:extLst>
            </c:dLbl>
            <c:dLbl>
              <c:idx val="4"/>
              <c:tx>
                <c:rich>
                  <a:bodyPr/>
                  <a:lstStyle/>
                  <a:p>
                    <a:r>
                      <a:t>118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776-4901-84E7-2ED92DA58A0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776-4901-84E7-2ED92DA58A0D}"/>
                </c:ext>
              </c:extLst>
            </c:dLbl>
            <c:dLbl>
              <c:idx val="6"/>
              <c:tx>
                <c:rich>
                  <a:bodyPr/>
                  <a:lstStyle/>
                  <a:p>
                    <a:r>
                      <a:t>114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776-4901-84E7-2ED92DA58A0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776-4901-84E7-2ED92DA58A0D}"/>
                </c:ext>
              </c:extLst>
            </c:dLbl>
            <c:dLbl>
              <c:idx val="8"/>
              <c:tx>
                <c:rich>
                  <a:bodyPr/>
                  <a:lstStyle/>
                  <a:p>
                    <a:r>
                      <a:t>57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776-4901-84E7-2ED92DA58A0D}"/>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776-4901-84E7-2ED92DA58A0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438.8028999999999</c:v>
                </c:pt>
                <c:pt idx="1">
                  <c:v>4326.4348</c:v>
                </c:pt>
                <c:pt idx="2">
                  <c:v>4061.2671999999998</c:v>
                </c:pt>
                <c:pt idx="3">
                  <c:v>0</c:v>
                </c:pt>
                <c:pt idx="4">
                  <c:v>1182.8997999999999</c:v>
                </c:pt>
                <c:pt idx="5">
                  <c:v>0</c:v>
                </c:pt>
                <c:pt idx="6">
                  <c:v>1142.4345000000001</c:v>
                </c:pt>
                <c:pt idx="7">
                  <c:v>0</c:v>
                </c:pt>
                <c:pt idx="8">
                  <c:v>578.1177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A63-4102-AAC9-8EE6A27A067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7A63-4102-AAC9-8EE6A27A0678}"/>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756.5</c:v>
                </c:pt>
                <c:pt idx="1">
                  <c:v>75</c:v>
                </c:pt>
                <c:pt idx="2">
                  <c:v>368.2</c:v>
                </c:pt>
                <c:pt idx="3">
                  <c:v>134.30000000000001</c:v>
                </c:pt>
                <c:pt idx="4">
                  <c:v>146.80000000000001</c:v>
                </c:pt>
                <c:pt idx="5">
                  <c:v>9.3000000000000007</c:v>
                </c:pt>
                <c:pt idx="6">
                  <c:v>133.69999999999999</c:v>
                </c:pt>
                <c:pt idx="7">
                  <c:v>39.799999999999997</c:v>
                </c:pt>
                <c:pt idx="8">
                  <c:v>56.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0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A63-4102-AAC9-8EE6A27A0678}"/>
                </c:ext>
              </c:extLst>
            </c:dLbl>
            <c:dLbl>
              <c:idx val="1"/>
              <c:tx>
                <c:rich>
                  <a:bodyPr/>
                  <a:lstStyle/>
                  <a:p>
                    <a:r>
                      <a:t>115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A63-4102-AAC9-8EE6A27A0678}"/>
                </c:ext>
              </c:extLst>
            </c:dLbl>
            <c:dLbl>
              <c:idx val="2"/>
              <c:tx>
                <c:rich>
                  <a:bodyPr/>
                  <a:lstStyle/>
                  <a:p>
                    <a:r>
                      <a:t>135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A63-4102-AAC9-8EE6A27A0678}"/>
                </c:ext>
              </c:extLst>
            </c:dLbl>
            <c:dLbl>
              <c:idx val="3"/>
              <c:tx>
                <c:rich>
                  <a:bodyPr/>
                  <a:lstStyle/>
                  <a:p>
                    <a:r>
                      <a:t>119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A63-4102-AAC9-8EE6A27A0678}"/>
                </c:ext>
              </c:extLst>
            </c:dLbl>
            <c:dLbl>
              <c:idx val="4"/>
              <c:tx>
                <c:rich>
                  <a:bodyPr/>
                  <a:lstStyle/>
                  <a:p>
                    <a:r>
                      <a:t>136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A63-4102-AAC9-8EE6A27A0678}"/>
                </c:ext>
              </c:extLst>
            </c:dLbl>
            <c:dLbl>
              <c:idx val="5"/>
              <c:tx>
                <c:rich>
                  <a:bodyPr/>
                  <a:lstStyle/>
                  <a:p>
                    <a:r>
                      <a:t>675.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A63-4102-AAC9-8EE6A27A0678}"/>
                </c:ext>
              </c:extLst>
            </c:dLbl>
            <c:dLbl>
              <c:idx val="6"/>
              <c:tx>
                <c:rich>
                  <a:bodyPr/>
                  <a:lstStyle/>
                  <a:p>
                    <a:r>
                      <a:t>140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A63-4102-AAC9-8EE6A27A0678}"/>
                </c:ext>
              </c:extLst>
            </c:dLbl>
            <c:dLbl>
              <c:idx val="7"/>
              <c:tx>
                <c:rich>
                  <a:bodyPr/>
                  <a:lstStyle/>
                  <a:p>
                    <a:r>
                      <a:t>140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A63-4102-AAC9-8EE6A27A0678}"/>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A63-4102-AAC9-8EE6A27A067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A63-4102-AAC9-8EE6A27A067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05.6334999999999</c:v>
                </c:pt>
                <c:pt idx="1">
                  <c:v>1158.6441</c:v>
                </c:pt>
                <c:pt idx="2">
                  <c:v>1356.6373000000001</c:v>
                </c:pt>
                <c:pt idx="3">
                  <c:v>1190.5996</c:v>
                </c:pt>
                <c:pt idx="4">
                  <c:v>1363.3117</c:v>
                </c:pt>
                <c:pt idx="5">
                  <c:v>675.74450000000002</c:v>
                </c:pt>
                <c:pt idx="6">
                  <c:v>1403.0264</c:v>
                </c:pt>
                <c:pt idx="7">
                  <c:v>1400.6985999999999</c:v>
                </c:pt>
                <c:pt idx="8">
                  <c:v>10910.9212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6CF-4D44-8786-55072E23584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6CF-4D44-8786-55072E235844}"/>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71.4</c:v>
                </c:pt>
                <c:pt idx="1">
                  <c:v>16.5</c:v>
                </c:pt>
                <c:pt idx="2">
                  <c:v>83.9</c:v>
                </c:pt>
                <c:pt idx="3">
                  <c:v>32.700000000000003</c:v>
                </c:pt>
                <c:pt idx="4">
                  <c:v>30.3</c:v>
                </c:pt>
                <c:pt idx="5">
                  <c:v>1.7</c:v>
                </c:pt>
                <c:pt idx="6">
                  <c:v>21.3</c:v>
                </c:pt>
                <c:pt idx="7">
                  <c:v>5.5</c:v>
                </c:pt>
                <c:pt idx="8">
                  <c:v>11.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6CF-4D44-8786-55072E235844}"/>
                </c:ext>
              </c:extLst>
            </c:dLbl>
            <c:dLbl>
              <c:idx val="1"/>
              <c:tx>
                <c:rich>
                  <a:bodyPr/>
                  <a:lstStyle/>
                  <a:p>
                    <a:r>
                      <a:t>1164.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6CF-4D44-8786-55072E235844}"/>
                </c:ext>
              </c:extLst>
            </c:dLbl>
            <c:dLbl>
              <c:idx val="2"/>
              <c:tx>
                <c:rich>
                  <a:bodyPr/>
                  <a:lstStyle/>
                  <a:p>
                    <a:r>
                      <a:t>137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6CF-4D44-8786-55072E235844}"/>
                </c:ext>
              </c:extLst>
            </c:dLbl>
            <c:dLbl>
              <c:idx val="3"/>
              <c:tx>
                <c:rich>
                  <a:bodyPr/>
                  <a:lstStyle/>
                  <a:p>
                    <a:r>
                      <a:t>1219.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6CF-4D44-8786-55072E235844}"/>
                </c:ext>
              </c:extLst>
            </c:dLbl>
            <c:dLbl>
              <c:idx val="4"/>
              <c:tx>
                <c:rich>
                  <a:bodyPr/>
                  <a:lstStyle/>
                  <a:p>
                    <a:r>
                      <a:t>137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6CF-4D44-8786-55072E235844}"/>
                </c:ext>
              </c:extLst>
            </c:dLbl>
            <c:dLbl>
              <c:idx val="5"/>
              <c:tx>
                <c:rich>
                  <a:bodyPr/>
                  <a:lstStyle/>
                  <a:p>
                    <a:r>
                      <a:t>71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6CF-4D44-8786-55072E235844}"/>
                </c:ext>
              </c:extLst>
            </c:dLbl>
            <c:dLbl>
              <c:idx val="6"/>
              <c:tx>
                <c:rich>
                  <a:bodyPr/>
                  <a:lstStyle/>
                  <a:p>
                    <a:r>
                      <a:t>136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6CF-4D44-8786-55072E235844}"/>
                </c:ext>
              </c:extLst>
            </c:dLbl>
            <c:dLbl>
              <c:idx val="7"/>
              <c:tx>
                <c:rich>
                  <a:bodyPr/>
                  <a:lstStyle/>
                  <a:p>
                    <a:r>
                      <a:t>137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6CF-4D44-8786-55072E235844}"/>
                </c:ext>
              </c:extLst>
            </c:dLbl>
            <c:dLbl>
              <c:idx val="8"/>
              <c:tx>
                <c:rich>
                  <a:bodyPr/>
                  <a:lstStyle/>
                  <a:p>
                    <a:r>
                      <a:t>1040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6CF-4D44-8786-55072E23584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6CF-4D44-8786-55072E23584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54.489</c:v>
                </c:pt>
                <c:pt idx="1">
                  <c:v>1164.4725000000001</c:v>
                </c:pt>
                <c:pt idx="2">
                  <c:v>1370.5171</c:v>
                </c:pt>
                <c:pt idx="3">
                  <c:v>1219.8733</c:v>
                </c:pt>
                <c:pt idx="4">
                  <c:v>1376.4056</c:v>
                </c:pt>
                <c:pt idx="5">
                  <c:v>715.7183</c:v>
                </c:pt>
                <c:pt idx="6">
                  <c:v>1365.3920000000001</c:v>
                </c:pt>
                <c:pt idx="7">
                  <c:v>1379.5272</c:v>
                </c:pt>
                <c:pt idx="8">
                  <c:v>10403.2415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402-4598-9E5C-A28CBA2D595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0402-4598-9E5C-A28CBA2D595A}"/>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No Spray Fluido</c:v>
                  </c:pt>
                  <c:pt idx="8">
                    <c:v>Spray Liquido</c:v>
                  </c:pt>
                </c:lvl>
              </c:multiLvlStrCache>
            </c:multiLvlStrRef>
          </c:cat>
          <c:val>
            <c:numRef>
              <c:f>Sheet1!$C$2:$C$11</c:f>
              <c:numCache>
                <c:formatCode>General</c:formatCode>
                <c:ptCount val="10"/>
                <c:pt idx="0">
                  <c:v>150.69999999999999</c:v>
                </c:pt>
                <c:pt idx="1">
                  <c:v>8.6999999999999993</c:v>
                </c:pt>
                <c:pt idx="2">
                  <c:v>53.5</c:v>
                </c:pt>
                <c:pt idx="3">
                  <c:v>19.899999999999999</c:v>
                </c:pt>
                <c:pt idx="4">
                  <c:v>27.7</c:v>
                </c:pt>
                <c:pt idx="5">
                  <c:v>0.7</c:v>
                </c:pt>
                <c:pt idx="6">
                  <c:v>21.2</c:v>
                </c:pt>
                <c:pt idx="7">
                  <c:v>0</c:v>
                </c:pt>
                <c:pt idx="8">
                  <c:v>15.3</c:v>
                </c:pt>
                <c:pt idx="9">
                  <c:v>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36.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402-4598-9E5C-A28CBA2D595A}"/>
                </c:ext>
              </c:extLst>
            </c:dLbl>
            <c:dLbl>
              <c:idx val="1"/>
              <c:tx>
                <c:rich>
                  <a:bodyPr/>
                  <a:lstStyle/>
                  <a:p>
                    <a:r>
                      <a:t>115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402-4598-9E5C-A28CBA2D595A}"/>
                </c:ext>
              </c:extLst>
            </c:dLbl>
            <c:dLbl>
              <c:idx val="2"/>
              <c:tx>
                <c:rich>
                  <a:bodyPr/>
                  <a:lstStyle/>
                  <a:p>
                    <a:r>
                      <a:t>137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402-4598-9E5C-A28CBA2D595A}"/>
                </c:ext>
              </c:extLst>
            </c:dLbl>
            <c:dLbl>
              <c:idx val="3"/>
              <c:tx>
                <c:rich>
                  <a:bodyPr/>
                  <a:lstStyle/>
                  <a:p>
                    <a:r>
                      <a:t>1162.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402-4598-9E5C-A28CBA2D595A}"/>
                </c:ext>
              </c:extLst>
            </c:dLbl>
            <c:dLbl>
              <c:idx val="4"/>
              <c:tx>
                <c:rich>
                  <a:bodyPr/>
                  <a:lstStyle/>
                  <a:p>
                    <a:r>
                      <a:t>1767.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402-4598-9E5C-A28CBA2D595A}"/>
                </c:ext>
              </c:extLst>
            </c:dLbl>
            <c:dLbl>
              <c:idx val="5"/>
              <c:tx>
                <c:rich>
                  <a:bodyPr/>
                  <a:lstStyle/>
                  <a:p>
                    <a:r>
                      <a:t>625.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402-4598-9E5C-A28CBA2D595A}"/>
                </c:ext>
              </c:extLst>
            </c:dLbl>
            <c:dLbl>
              <c:idx val="6"/>
              <c:tx>
                <c:rich>
                  <a:bodyPr/>
                  <a:lstStyle/>
                  <a:p>
                    <a:r>
                      <a:t>1068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402-4598-9E5C-A28CBA2D595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402-4598-9E5C-A28CBA2D595A}"/>
                </c:ext>
              </c:extLst>
            </c:dLbl>
            <c:dLbl>
              <c:idx val="8"/>
              <c:tx>
                <c:rich>
                  <a:bodyPr/>
                  <a:lstStyle/>
                  <a:p>
                    <a:r>
                      <a:t>1409.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402-4598-9E5C-A28CBA2D595A}"/>
                </c:ext>
              </c:extLst>
            </c:dLbl>
            <c:dLbl>
              <c:idx val="9"/>
              <c:tx>
                <c:rich>
                  <a:bodyPr/>
                  <a:lstStyle/>
                  <a:p>
                    <a:r>
                      <a:t>1266.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402-4598-9E5C-A28CBA2D595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No Spray Fluido</c:v>
                  </c:pt>
                  <c:pt idx="8">
                    <c:v>Spray Liquido</c:v>
                  </c:pt>
                </c:lvl>
              </c:multiLvlStrCache>
            </c:multiLvlStrRef>
          </c:cat>
          <c:val>
            <c:numRef>
              <c:f>Sheet1!$D$2:$D$11</c:f>
              <c:numCache>
                <c:formatCode>General</c:formatCode>
                <c:ptCount val="10"/>
                <c:pt idx="0">
                  <c:v>2036.5506</c:v>
                </c:pt>
                <c:pt idx="1">
                  <c:v>1159.3208</c:v>
                </c:pt>
                <c:pt idx="2">
                  <c:v>1379.3695</c:v>
                </c:pt>
                <c:pt idx="3">
                  <c:v>1162.7891999999999</c:v>
                </c:pt>
                <c:pt idx="4">
                  <c:v>1767.5198</c:v>
                </c:pt>
                <c:pt idx="5">
                  <c:v>625.26390000000004</c:v>
                </c:pt>
                <c:pt idx="6">
                  <c:v>10681.6818</c:v>
                </c:pt>
                <c:pt idx="7">
                  <c:v>0</c:v>
                </c:pt>
                <c:pt idx="8">
                  <c:v>1409.2646</c:v>
                </c:pt>
                <c:pt idx="9">
                  <c:v>1266.666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968-42B2-A09E-BDB7AD6E490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F968-42B2-A09E-BDB7AD6E4907}"/>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2.3</c:v>
                </c:pt>
                <c:pt idx="1">
                  <c:v>13.5</c:v>
                </c:pt>
                <c:pt idx="2">
                  <c:v>68.599999999999994</c:v>
                </c:pt>
                <c:pt idx="3">
                  <c:v>23.2</c:v>
                </c:pt>
                <c:pt idx="4">
                  <c:v>31.1</c:v>
                </c:pt>
                <c:pt idx="5">
                  <c:v>9.9</c:v>
                </c:pt>
                <c:pt idx="6">
                  <c:v>27.5</c:v>
                </c:pt>
                <c:pt idx="7">
                  <c:v>2.9</c:v>
                </c:pt>
                <c:pt idx="8">
                  <c:v>8.5</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968-42B2-A09E-BDB7AD6E4907}"/>
                </c:ext>
              </c:extLst>
            </c:dLbl>
            <c:dLbl>
              <c:idx val="1"/>
              <c:tx>
                <c:rich>
                  <a:bodyPr/>
                  <a:lstStyle/>
                  <a:p>
                    <a:r>
                      <a:t>113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968-42B2-A09E-BDB7AD6E4907}"/>
                </c:ext>
              </c:extLst>
            </c:dLbl>
            <c:dLbl>
              <c:idx val="2"/>
              <c:tx>
                <c:rich>
                  <a:bodyPr/>
                  <a:lstStyle/>
                  <a:p>
                    <a:r>
                      <a:t>129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968-42B2-A09E-BDB7AD6E4907}"/>
                </c:ext>
              </c:extLst>
            </c:dLbl>
            <c:dLbl>
              <c:idx val="3"/>
              <c:tx>
                <c:rich>
                  <a:bodyPr/>
                  <a:lstStyle/>
                  <a:p>
                    <a:r>
                      <a:t>1131.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968-42B2-A09E-BDB7AD6E4907}"/>
                </c:ext>
              </c:extLst>
            </c:dLbl>
            <c:dLbl>
              <c:idx val="4"/>
              <c:tx>
                <c:rich>
                  <a:bodyPr/>
                  <a:lstStyle/>
                  <a:p>
                    <a:r>
                      <a:t>1366.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968-42B2-A09E-BDB7AD6E4907}"/>
                </c:ext>
              </c:extLst>
            </c:dLbl>
            <c:dLbl>
              <c:idx val="5"/>
              <c:tx>
                <c:rich>
                  <a:bodyPr/>
                  <a:lstStyle/>
                  <a:p>
                    <a:r>
                      <a:t>136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968-42B2-A09E-BDB7AD6E4907}"/>
                </c:ext>
              </c:extLst>
            </c:dLbl>
            <c:dLbl>
              <c:idx val="6"/>
              <c:tx>
                <c:rich>
                  <a:bodyPr/>
                  <a:lstStyle/>
                  <a:p>
                    <a:r>
                      <a:t>1096.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968-42B2-A09E-BDB7AD6E4907}"/>
                </c:ext>
              </c:extLst>
            </c:dLbl>
            <c:dLbl>
              <c:idx val="7"/>
              <c:tx>
                <c:rich>
                  <a:bodyPr/>
                  <a:lstStyle/>
                  <a:p>
                    <a:r>
                      <a:t>627.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968-42B2-A09E-BDB7AD6E4907}"/>
                </c:ext>
              </c:extLst>
            </c:dLbl>
            <c:dLbl>
              <c:idx val="8"/>
              <c:tx>
                <c:rich>
                  <a:bodyPr/>
                  <a:lstStyle/>
                  <a:p>
                    <a:r>
                      <a:t>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968-42B2-A09E-BDB7AD6E490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968-42B2-A09E-BDB7AD6E490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328.3386</c:v>
                </c:pt>
                <c:pt idx="1">
                  <c:v>1136.8001999999999</c:v>
                </c:pt>
                <c:pt idx="2">
                  <c:v>1293.9094</c:v>
                </c:pt>
                <c:pt idx="3">
                  <c:v>1131.6577</c:v>
                </c:pt>
                <c:pt idx="4">
                  <c:v>1366.2236</c:v>
                </c:pt>
                <c:pt idx="5">
                  <c:v>1369.1459</c:v>
                </c:pt>
                <c:pt idx="6">
                  <c:v>1096.7208000000001</c:v>
                </c:pt>
                <c:pt idx="7">
                  <c:v>627.83820000000003</c:v>
                </c:pt>
                <c:pt idx="8">
                  <c:v>1295.199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1DD-4078-9A78-15040B890E8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61DD-4078-9A78-15040B890E84}"/>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26</c:v>
                </c:pt>
                <c:pt idx="1">
                  <c:v>13</c:v>
                </c:pt>
                <c:pt idx="2">
                  <c:v>61.7</c:v>
                </c:pt>
                <c:pt idx="3">
                  <c:v>21.7</c:v>
                </c:pt>
                <c:pt idx="4">
                  <c:v>25.2</c:v>
                </c:pt>
                <c:pt idx="5">
                  <c:v>1.2</c:v>
                </c:pt>
                <c:pt idx="6">
                  <c:v>17.100000000000001</c:v>
                </c:pt>
                <c:pt idx="7">
                  <c:v>4.5</c:v>
                </c:pt>
                <c:pt idx="8">
                  <c:v>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1DD-4078-9A78-15040B890E84}"/>
                </c:ext>
              </c:extLst>
            </c:dLbl>
            <c:dLbl>
              <c:idx val="1"/>
              <c:tx>
                <c:rich>
                  <a:bodyPr/>
                  <a:lstStyle/>
                  <a:p>
                    <a:r>
                      <a:t>1148.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1DD-4078-9A78-15040B890E84}"/>
                </c:ext>
              </c:extLst>
            </c:dLbl>
            <c:dLbl>
              <c:idx val="2"/>
              <c:tx>
                <c:rich>
                  <a:bodyPr/>
                  <a:lstStyle/>
                  <a:p>
                    <a:r>
                      <a:t>135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1DD-4078-9A78-15040B890E84}"/>
                </c:ext>
              </c:extLst>
            </c:dLbl>
            <c:dLbl>
              <c:idx val="3"/>
              <c:tx>
                <c:rich>
                  <a:bodyPr/>
                  <a:lstStyle/>
                  <a:p>
                    <a:r>
                      <a:t>1187.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1DD-4078-9A78-15040B890E84}"/>
                </c:ext>
              </c:extLst>
            </c:dLbl>
            <c:dLbl>
              <c:idx val="4"/>
              <c:tx>
                <c:rich>
                  <a:bodyPr/>
                  <a:lstStyle/>
                  <a:p>
                    <a:r>
                      <a:t>1409.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1DD-4078-9A78-15040B890E84}"/>
                </c:ext>
              </c:extLst>
            </c:dLbl>
            <c:dLbl>
              <c:idx val="5"/>
              <c:tx>
                <c:rich>
                  <a:bodyPr/>
                  <a:lstStyle/>
                  <a:p>
                    <a:r>
                      <a:t>70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1DD-4078-9A78-15040B890E84}"/>
                </c:ext>
              </c:extLst>
            </c:dLbl>
            <c:dLbl>
              <c:idx val="6"/>
              <c:tx>
                <c:rich>
                  <a:bodyPr/>
                  <a:lstStyle/>
                  <a:p>
                    <a:r>
                      <a:t>137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1DD-4078-9A78-15040B890E84}"/>
                </c:ext>
              </c:extLst>
            </c:dLbl>
            <c:dLbl>
              <c:idx val="7"/>
              <c:tx>
                <c:rich>
                  <a:bodyPr/>
                  <a:lstStyle/>
                  <a:p>
                    <a:r>
                      <a:t>139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1DD-4078-9A78-15040B890E84}"/>
                </c:ext>
              </c:extLst>
            </c:dLbl>
            <c:dLbl>
              <c:idx val="8"/>
              <c:tx>
                <c:rich>
                  <a:bodyPr/>
                  <a:lstStyle/>
                  <a:p>
                    <a:r>
                      <a:t>1175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1DD-4078-9A78-15040B890E8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1DD-4078-9A78-15040B890E8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532.6045999999999</c:v>
                </c:pt>
                <c:pt idx="1">
                  <c:v>1148.0745999999999</c:v>
                </c:pt>
                <c:pt idx="2">
                  <c:v>1356.777</c:v>
                </c:pt>
                <c:pt idx="3">
                  <c:v>1187.5843</c:v>
                </c:pt>
                <c:pt idx="4">
                  <c:v>1409.5581</c:v>
                </c:pt>
                <c:pt idx="5">
                  <c:v>706.20230000000004</c:v>
                </c:pt>
                <c:pt idx="6">
                  <c:v>1378.8089</c:v>
                </c:pt>
                <c:pt idx="7">
                  <c:v>1395.9390000000001</c:v>
                </c:pt>
                <c:pt idx="8">
                  <c:v>11757.143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E83-44F7-B48C-FC3F6283569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0E83-44F7-B48C-FC3F6283569E}"/>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6.9</c:v>
                </c:pt>
                <c:pt idx="1">
                  <c:v>13.5</c:v>
                </c:pt>
                <c:pt idx="2">
                  <c:v>56.1</c:v>
                </c:pt>
                <c:pt idx="3">
                  <c:v>22.7</c:v>
                </c:pt>
                <c:pt idx="4">
                  <c:v>24.2</c:v>
                </c:pt>
                <c:pt idx="5">
                  <c:v>7.9</c:v>
                </c:pt>
                <c:pt idx="6">
                  <c:v>20.7</c:v>
                </c:pt>
                <c:pt idx="7">
                  <c:v>1.6</c:v>
                </c:pt>
                <c:pt idx="8">
                  <c:v>8.800000000000000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4.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E83-44F7-B48C-FC3F6283569E}"/>
                </c:ext>
              </c:extLst>
            </c:dLbl>
            <c:dLbl>
              <c:idx val="1"/>
              <c:tx>
                <c:rich>
                  <a:bodyPr/>
                  <a:lstStyle/>
                  <a:p>
                    <a:r>
                      <a:t>1179.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E83-44F7-B48C-FC3F6283569E}"/>
                </c:ext>
              </c:extLst>
            </c:dLbl>
            <c:dLbl>
              <c:idx val="2"/>
              <c:tx>
                <c:rich>
                  <a:bodyPr/>
                  <a:lstStyle/>
                  <a:p>
                    <a:r>
                      <a:t>1376.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E83-44F7-B48C-FC3F6283569E}"/>
                </c:ext>
              </c:extLst>
            </c:dLbl>
            <c:dLbl>
              <c:idx val="3"/>
              <c:tx>
                <c:rich>
                  <a:bodyPr/>
                  <a:lstStyle/>
                  <a:p>
                    <a:r>
                      <a:t>122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E83-44F7-B48C-FC3F6283569E}"/>
                </c:ext>
              </c:extLst>
            </c:dLbl>
            <c:dLbl>
              <c:idx val="4"/>
              <c:tx>
                <c:rich>
                  <a:bodyPr/>
                  <a:lstStyle/>
                  <a:p>
                    <a:r>
                      <a:t>1460.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E83-44F7-B48C-FC3F6283569E}"/>
                </c:ext>
              </c:extLst>
            </c:dLbl>
            <c:dLbl>
              <c:idx val="5"/>
              <c:tx>
                <c:rich>
                  <a:bodyPr/>
                  <a:lstStyle/>
                  <a:p>
                    <a:r>
                      <a:t>147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E83-44F7-B48C-FC3F6283569E}"/>
                </c:ext>
              </c:extLst>
            </c:dLbl>
            <c:dLbl>
              <c:idx val="6"/>
              <c:tx>
                <c:rich>
                  <a:bodyPr/>
                  <a:lstStyle/>
                  <a:p>
                    <a:r>
                      <a:t>136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E83-44F7-B48C-FC3F6283569E}"/>
                </c:ext>
              </c:extLst>
            </c:dLbl>
            <c:dLbl>
              <c:idx val="7"/>
              <c:tx>
                <c:rich>
                  <a:bodyPr/>
                  <a:lstStyle/>
                  <a:p>
                    <a:r>
                      <a:t>70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E83-44F7-B48C-FC3F6283569E}"/>
                </c:ext>
              </c:extLst>
            </c:dLbl>
            <c:dLbl>
              <c:idx val="8"/>
              <c:tx>
                <c:rich>
                  <a:bodyPr/>
                  <a:lstStyle/>
                  <a:p>
                    <a:r>
                      <a:t>140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E83-44F7-B48C-FC3F6283569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E83-44F7-B48C-FC3F6283569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34.6503</c:v>
                </c:pt>
                <c:pt idx="1">
                  <c:v>1179.6086</c:v>
                </c:pt>
                <c:pt idx="2">
                  <c:v>1376.7646</c:v>
                </c:pt>
                <c:pt idx="3">
                  <c:v>1220.9173000000001</c:v>
                </c:pt>
                <c:pt idx="4">
                  <c:v>1460.5051000000001</c:v>
                </c:pt>
                <c:pt idx="5">
                  <c:v>1475.1786</c:v>
                </c:pt>
                <c:pt idx="6">
                  <c:v>1360.1494</c:v>
                </c:pt>
                <c:pt idx="7">
                  <c:v>705.32180000000005</c:v>
                </c:pt>
                <c:pt idx="8">
                  <c:v>1409.5431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AE2F65B-37A7-488C-B2AB-DD26D5A94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359DC61-2AA5-4A2C-A3E0-3865E1305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D6723A1-E160-45DB-94C3-94A3709FB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16D46A7-F5A5-44D3-89F5-C6B14708B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AD17C6C-6411-4582-B15F-194858068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67B00CD-8CF4-4598-BBFD-86FA09E12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F56B7D0-3E98-49FE-A99E-5F1755EE4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6A63D85B-6C4A-427E-BC85-AA2E9F6F1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1.15620000000001</c:v>
                </c:pt>
                <c:pt idx="1">
                  <c:v>278.12959999999998</c:v>
                </c:pt>
                <c:pt idx="2">
                  <c:v>484.38729999999998</c:v>
                </c:pt>
                <c:pt idx="3">
                  <c:v>494.68939999999998</c:v>
                </c:pt>
                <c:pt idx="4">
                  <c:v>171.54740000000001</c:v>
                </c:pt>
                <c:pt idx="5">
                  <c:v>472.32940000000002</c:v>
                </c:pt>
              </c:numCache>
            </c:numRef>
          </c:xVal>
          <c:yVal>
            <c:numRef>
              <c:f>Sheet1!$B$2:$B$7</c:f>
              <c:numCache>
                <c:formatCode>General</c:formatCode>
                <c:ptCount val="6"/>
                <c:pt idx="0">
                  <c:v>3.9140000000000001</c:v>
                </c:pt>
                <c:pt idx="1">
                  <c:v>0.69199999999999995</c:v>
                </c:pt>
                <c:pt idx="2">
                  <c:v>2.883</c:v>
                </c:pt>
                <c:pt idx="3">
                  <c:v>8.9039999999999999</c:v>
                </c:pt>
                <c:pt idx="4">
                  <c:v>0.313</c:v>
                </c:pt>
                <c:pt idx="5">
                  <c:v>17.263999999999999</c:v>
                </c:pt>
              </c:numCache>
            </c:numRef>
          </c:yVal>
          <c:bubbleSize>
            <c:numRef>
              <c:f>Sheet1!$C$2:$C$7</c:f>
              <c:numCache>
                <c:formatCode>General</c:formatCode>
                <c:ptCount val="6"/>
                <c:pt idx="0">
                  <c:v>473321</c:v>
                </c:pt>
                <c:pt idx="1">
                  <c:v>212491</c:v>
                </c:pt>
                <c:pt idx="2">
                  <c:v>167598</c:v>
                </c:pt>
                <c:pt idx="3">
                  <c:v>144944</c:v>
                </c:pt>
                <c:pt idx="4">
                  <c:v>81485</c:v>
                </c:pt>
                <c:pt idx="5">
                  <c:v>40148</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
          <c:min val="13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98F-4A82-9557-3CE279D0858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798F-4A82-9557-3CE279D08583}"/>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79.099999999999994</c:v>
                </c:pt>
                <c:pt idx="1">
                  <c:v>9.8000000000000007</c:v>
                </c:pt>
                <c:pt idx="2">
                  <c:v>44.5</c:v>
                </c:pt>
                <c:pt idx="3">
                  <c:v>14.2</c:v>
                </c:pt>
                <c:pt idx="4">
                  <c:v>24.6</c:v>
                </c:pt>
                <c:pt idx="5">
                  <c:v>8</c:v>
                </c:pt>
                <c:pt idx="6">
                  <c:v>15.5</c:v>
                </c:pt>
                <c:pt idx="7">
                  <c:v>1.2</c:v>
                </c:pt>
                <c:pt idx="8">
                  <c:v>5.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6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F-4A82-9557-3CE279D08583}"/>
                </c:ext>
              </c:extLst>
            </c:dLbl>
            <c:dLbl>
              <c:idx val="1"/>
              <c:tx>
                <c:rich>
                  <a:bodyPr/>
                  <a:lstStyle/>
                  <a:p>
                    <a:r>
                      <a:t>1164.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F-4A82-9557-3CE279D08583}"/>
                </c:ext>
              </c:extLst>
            </c:dLbl>
            <c:dLbl>
              <c:idx val="2"/>
              <c:tx>
                <c:rich>
                  <a:bodyPr/>
                  <a:lstStyle/>
                  <a:p>
                    <a:r>
                      <a:t>13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F-4A82-9557-3CE279D08583}"/>
                </c:ext>
              </c:extLst>
            </c:dLbl>
            <c:dLbl>
              <c:idx val="3"/>
              <c:tx>
                <c:rich>
                  <a:bodyPr/>
                  <a:lstStyle/>
                  <a:p>
                    <a:r>
                      <a:t>1224.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F-4A82-9557-3CE279D08583}"/>
                </c:ext>
              </c:extLst>
            </c:dLbl>
            <c:dLbl>
              <c:idx val="4"/>
              <c:tx>
                <c:rich>
                  <a:bodyPr/>
                  <a:lstStyle/>
                  <a:p>
                    <a:r>
                      <a:t>144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F-4A82-9557-3CE279D08583}"/>
                </c:ext>
              </c:extLst>
            </c:dLbl>
            <c:dLbl>
              <c:idx val="5"/>
              <c:tx>
                <c:rich>
                  <a:bodyPr/>
                  <a:lstStyle/>
                  <a:p>
                    <a:r>
                      <a:t>146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F-4A82-9557-3CE279D08583}"/>
                </c:ext>
              </c:extLst>
            </c:dLbl>
            <c:dLbl>
              <c:idx val="6"/>
              <c:tx>
                <c:rich>
                  <a:bodyPr/>
                  <a:lstStyle/>
                  <a:p>
                    <a:r>
                      <a:t>1303.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F-4A82-9557-3CE279D08583}"/>
                </c:ext>
              </c:extLst>
            </c:dLbl>
            <c:dLbl>
              <c:idx val="7"/>
              <c:tx>
                <c:rich>
                  <a:bodyPr/>
                  <a:lstStyle/>
                  <a:p>
                    <a:r>
                      <a:t>710.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F-4A82-9557-3CE279D08583}"/>
                </c:ext>
              </c:extLst>
            </c:dLbl>
            <c:dLbl>
              <c:idx val="8"/>
              <c:tx>
                <c:rich>
                  <a:bodyPr/>
                  <a:lstStyle/>
                  <a:p>
                    <a:r>
                      <a:t>14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F-4A82-9557-3CE279D0858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F-4A82-9557-3CE279D0858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64.0227</c:v>
                </c:pt>
                <c:pt idx="1">
                  <c:v>1164.8843999999999</c:v>
                </c:pt>
                <c:pt idx="2">
                  <c:v>1380.4037000000001</c:v>
                </c:pt>
                <c:pt idx="3">
                  <c:v>1224.1476</c:v>
                </c:pt>
                <c:pt idx="4">
                  <c:v>1444.4340999999999</c:v>
                </c:pt>
                <c:pt idx="5">
                  <c:v>1464.348</c:v>
                </c:pt>
                <c:pt idx="6">
                  <c:v>1303.0379</c:v>
                </c:pt>
                <c:pt idx="7">
                  <c:v>710.19110000000001</c:v>
                </c:pt>
                <c:pt idx="8">
                  <c:v>1471.524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A9AC-4817-9446-9B79E49AC8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A9AC-4817-9446-9B79E49AC8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756.5</c:v>
                </c:pt>
                <c:pt idx="1">
                  <c:v>66</c:v>
                </c:pt>
                <c:pt idx="2">
                  <c:v>368.2</c:v>
                </c:pt>
                <c:pt idx="3">
                  <c:v>29</c:v>
                </c:pt>
                <c:pt idx="4">
                  <c:v>146.80000000000001</c:v>
                </c:pt>
                <c:pt idx="5">
                  <c:v>7.4</c:v>
                </c:pt>
                <c:pt idx="6">
                  <c:v>133.69999999999999</c:v>
                </c:pt>
                <c:pt idx="7">
                  <c:v>38.1</c:v>
                </c:pt>
                <c:pt idx="8">
                  <c:v>56.8</c:v>
                </c:pt>
                <c:pt idx="9">
                  <c:v>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0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9AC-4817-9446-9B79E49AC85C}"/>
                </c:ext>
              </c:extLst>
            </c:dLbl>
            <c:dLbl>
              <c:idx val="1"/>
              <c:tx>
                <c:rich>
                  <a:bodyPr/>
                  <a:lstStyle/>
                  <a:p>
                    <a:r>
                      <a:t>1058.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9AC-4817-9446-9B79E49AC85C}"/>
                </c:ext>
              </c:extLst>
            </c:dLbl>
            <c:dLbl>
              <c:idx val="2"/>
              <c:tx>
                <c:rich>
                  <a:bodyPr/>
                  <a:lstStyle/>
                  <a:p>
                    <a:r>
                      <a:t>135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9AC-4817-9446-9B79E49AC85C}"/>
                </c:ext>
              </c:extLst>
            </c:dLbl>
            <c:dLbl>
              <c:idx val="3"/>
              <c:tx>
                <c:rich>
                  <a:bodyPr/>
                  <a:lstStyle/>
                  <a:p>
                    <a:r>
                      <a:t>110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9AC-4817-9446-9B79E49AC85C}"/>
                </c:ext>
              </c:extLst>
            </c:dLbl>
            <c:dLbl>
              <c:idx val="4"/>
              <c:tx>
                <c:rich>
                  <a:bodyPr/>
                  <a:lstStyle/>
                  <a:p>
                    <a:r>
                      <a:t>136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9AC-4817-9446-9B79E49AC85C}"/>
                </c:ext>
              </c:extLst>
            </c:dLbl>
            <c:dLbl>
              <c:idx val="5"/>
              <c:tx>
                <c:rich>
                  <a:bodyPr/>
                  <a:lstStyle/>
                  <a:p>
                    <a:r>
                      <a:t>43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9AC-4817-9446-9B79E49AC85C}"/>
                </c:ext>
              </c:extLst>
            </c:dLbl>
            <c:dLbl>
              <c:idx val="6"/>
              <c:tx>
                <c:rich>
                  <a:bodyPr/>
                  <a:lstStyle/>
                  <a:p>
                    <a:r>
                      <a:t>140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9AC-4817-9446-9B79E49AC85C}"/>
                </c:ext>
              </c:extLst>
            </c:dLbl>
            <c:dLbl>
              <c:idx val="7"/>
              <c:tx>
                <c:rich>
                  <a:bodyPr/>
                  <a:lstStyle/>
                  <a:p>
                    <a:r>
                      <a:t>1266.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9AC-4817-9446-9B79E49AC85C}"/>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9AC-4817-9446-9B79E49AC85C}"/>
                </c:ext>
              </c:extLst>
            </c:dLbl>
            <c:dLbl>
              <c:idx val="9"/>
              <c:tx>
                <c:rich>
                  <a:bodyPr/>
                  <a:lstStyle/>
                  <a:p>
                    <a:r>
                      <a:t>56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9AC-4817-9446-9B79E49AC85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05.6334999999999</c:v>
                </c:pt>
                <c:pt idx="1">
                  <c:v>1058.6785</c:v>
                </c:pt>
                <c:pt idx="2">
                  <c:v>1356.6373000000001</c:v>
                </c:pt>
                <c:pt idx="3">
                  <c:v>1106.3018999999999</c:v>
                </c:pt>
                <c:pt idx="4">
                  <c:v>1363.3117</c:v>
                </c:pt>
                <c:pt idx="5">
                  <c:v>439.69450000000001</c:v>
                </c:pt>
                <c:pt idx="6">
                  <c:v>1403.0264</c:v>
                </c:pt>
                <c:pt idx="7">
                  <c:v>1266.0626</c:v>
                </c:pt>
                <c:pt idx="8">
                  <c:v>10910.921200000001</c:v>
                </c:pt>
                <c:pt idx="9">
                  <c:v>5633.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C08-4DA6-861C-AE0BD051D1F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FC08-4DA6-861C-AE0BD051D1F2}"/>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71.4</c:v>
                </c:pt>
                <c:pt idx="1">
                  <c:v>13.9</c:v>
                </c:pt>
                <c:pt idx="2">
                  <c:v>83.9</c:v>
                </c:pt>
                <c:pt idx="3">
                  <c:v>7.4</c:v>
                </c:pt>
                <c:pt idx="4">
                  <c:v>30.3</c:v>
                </c:pt>
                <c:pt idx="5">
                  <c:v>1.7</c:v>
                </c:pt>
                <c:pt idx="6">
                  <c:v>21.3</c:v>
                </c:pt>
                <c:pt idx="7">
                  <c:v>5.2</c:v>
                </c:pt>
                <c:pt idx="8">
                  <c:v>11.2</c:v>
                </c:pt>
                <c:pt idx="9">
                  <c:v>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C08-4DA6-861C-AE0BD051D1F2}"/>
                </c:ext>
              </c:extLst>
            </c:dLbl>
            <c:dLbl>
              <c:idx val="1"/>
              <c:tx>
                <c:rich>
                  <a:bodyPr/>
                  <a:lstStyle/>
                  <a:p>
                    <a:r>
                      <a:t>10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C08-4DA6-861C-AE0BD051D1F2}"/>
                </c:ext>
              </c:extLst>
            </c:dLbl>
            <c:dLbl>
              <c:idx val="2"/>
              <c:tx>
                <c:rich>
                  <a:bodyPr/>
                  <a:lstStyle/>
                  <a:p>
                    <a:r>
                      <a:t>137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C08-4DA6-861C-AE0BD051D1F2}"/>
                </c:ext>
              </c:extLst>
            </c:dLbl>
            <c:dLbl>
              <c:idx val="3"/>
              <c:tx>
                <c:rich>
                  <a:bodyPr/>
                  <a:lstStyle/>
                  <a:p>
                    <a:r>
                      <a:t>107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C08-4DA6-861C-AE0BD051D1F2}"/>
                </c:ext>
              </c:extLst>
            </c:dLbl>
            <c:dLbl>
              <c:idx val="4"/>
              <c:tx>
                <c:rich>
                  <a:bodyPr/>
                  <a:lstStyle/>
                  <a:p>
                    <a:r>
                      <a:t>137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C08-4DA6-861C-AE0BD051D1F2}"/>
                </c:ext>
              </c:extLst>
            </c:dLbl>
            <c:dLbl>
              <c:idx val="5"/>
              <c:tx>
                <c:rich>
                  <a:bodyPr/>
                  <a:lstStyle/>
                  <a:p>
                    <a:r>
                      <a:t>43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C08-4DA6-861C-AE0BD051D1F2}"/>
                </c:ext>
              </c:extLst>
            </c:dLbl>
            <c:dLbl>
              <c:idx val="6"/>
              <c:tx>
                <c:rich>
                  <a:bodyPr/>
                  <a:lstStyle/>
                  <a:p>
                    <a:r>
                      <a:t>136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C08-4DA6-861C-AE0BD051D1F2}"/>
                </c:ext>
              </c:extLst>
            </c:dLbl>
            <c:dLbl>
              <c:idx val="7"/>
              <c:tx>
                <c:rich>
                  <a:bodyPr/>
                  <a:lstStyle/>
                  <a:p>
                    <a:r>
                      <a:t>1142.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C08-4DA6-861C-AE0BD051D1F2}"/>
                </c:ext>
              </c:extLst>
            </c:dLbl>
            <c:dLbl>
              <c:idx val="8"/>
              <c:tx>
                <c:rich>
                  <a:bodyPr/>
                  <a:lstStyle/>
                  <a:p>
                    <a:r>
                      <a:t>1040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C08-4DA6-861C-AE0BD051D1F2}"/>
                </c:ext>
              </c:extLst>
            </c:dLbl>
            <c:dLbl>
              <c:idx val="9"/>
              <c:tx>
                <c:rich>
                  <a:bodyPr/>
                  <a:lstStyle/>
                  <a:p>
                    <a:r>
                      <a:t>54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C08-4DA6-861C-AE0BD051D1F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54.489</c:v>
                </c:pt>
                <c:pt idx="1">
                  <c:v>1064.3045</c:v>
                </c:pt>
                <c:pt idx="2">
                  <c:v>1370.5171</c:v>
                </c:pt>
                <c:pt idx="3">
                  <c:v>1071.0653</c:v>
                </c:pt>
                <c:pt idx="4">
                  <c:v>1376.4056</c:v>
                </c:pt>
                <c:pt idx="5">
                  <c:v>431.06009999999998</c:v>
                </c:pt>
                <c:pt idx="6">
                  <c:v>1365.3920000000001</c:v>
                </c:pt>
                <c:pt idx="7">
                  <c:v>1142.9572000000001</c:v>
                </c:pt>
                <c:pt idx="8">
                  <c:v>10403.241599999999</c:v>
                </c:pt>
                <c:pt idx="9">
                  <c:v>5413.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97F-43ED-AC1A-009577D3949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797F-43ED-AC1A-009577D3949F}"/>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No Spray Fluido</c:v>
                  </c:pt>
                  <c:pt idx="8">
                    <c:v>Spray Liquido</c:v>
                  </c:pt>
                </c:lvl>
              </c:multiLvlStrCache>
            </c:multiLvlStrRef>
          </c:cat>
          <c:val>
            <c:numRef>
              <c:f>Sheet1!$C$2:$C$11</c:f>
              <c:numCache>
                <c:formatCode>General</c:formatCode>
                <c:ptCount val="10"/>
                <c:pt idx="0">
                  <c:v>150.69999999999999</c:v>
                </c:pt>
                <c:pt idx="1">
                  <c:v>10.199999999999999</c:v>
                </c:pt>
                <c:pt idx="2">
                  <c:v>53.5</c:v>
                </c:pt>
                <c:pt idx="3">
                  <c:v>5.6</c:v>
                </c:pt>
                <c:pt idx="4">
                  <c:v>27.7</c:v>
                </c:pt>
                <c:pt idx="5">
                  <c:v>0.9</c:v>
                </c:pt>
                <c:pt idx="6">
                  <c:v>21.2</c:v>
                </c:pt>
                <c:pt idx="7">
                  <c:v>0.1</c:v>
                </c:pt>
                <c:pt idx="8">
                  <c:v>15.3</c:v>
                </c:pt>
                <c:pt idx="9">
                  <c:v>4.40000000000000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36.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7F-43ED-AC1A-009577D3949F}"/>
                </c:ext>
              </c:extLst>
            </c:dLbl>
            <c:dLbl>
              <c:idx val="1"/>
              <c:tx>
                <c:rich>
                  <a:bodyPr/>
                  <a:lstStyle/>
                  <a:p>
                    <a:r>
                      <a:t>1026.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7F-43ED-AC1A-009577D3949F}"/>
                </c:ext>
              </c:extLst>
            </c:dLbl>
            <c:dLbl>
              <c:idx val="2"/>
              <c:tx>
                <c:rich>
                  <a:bodyPr/>
                  <a:lstStyle/>
                  <a:p>
                    <a:r>
                      <a:t>137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7F-43ED-AC1A-009577D3949F}"/>
                </c:ext>
              </c:extLst>
            </c:dLbl>
            <c:dLbl>
              <c:idx val="3"/>
              <c:tx>
                <c:rich>
                  <a:bodyPr/>
                  <a:lstStyle/>
                  <a:p>
                    <a:r>
                      <a:t>1137.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7F-43ED-AC1A-009577D3949F}"/>
                </c:ext>
              </c:extLst>
            </c:dLbl>
            <c:dLbl>
              <c:idx val="4"/>
              <c:tx>
                <c:rich>
                  <a:bodyPr/>
                  <a:lstStyle/>
                  <a:p>
                    <a:r>
                      <a:t>1767.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7F-43ED-AC1A-009577D3949F}"/>
                </c:ext>
              </c:extLst>
            </c:dLbl>
            <c:dLbl>
              <c:idx val="5"/>
              <c:tx>
                <c:rich>
                  <a:bodyPr/>
                  <a:lstStyle/>
                  <a:p>
                    <a:r>
                      <a:t>48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7F-43ED-AC1A-009577D3949F}"/>
                </c:ext>
              </c:extLst>
            </c:dLbl>
            <c:dLbl>
              <c:idx val="6"/>
              <c:tx>
                <c:rich>
                  <a:bodyPr/>
                  <a:lstStyle/>
                  <a:p>
                    <a:r>
                      <a:t>1068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7F-43ED-AC1A-009577D3949F}"/>
                </c:ext>
              </c:extLst>
            </c:dLbl>
            <c:dLbl>
              <c:idx val="7"/>
              <c:tx>
                <c:rich>
                  <a:bodyPr/>
                  <a:lstStyle/>
                  <a:p>
                    <a:r>
                      <a:t>5846.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7F-43ED-AC1A-009577D3949F}"/>
                </c:ext>
              </c:extLst>
            </c:dLbl>
            <c:dLbl>
              <c:idx val="8"/>
              <c:tx>
                <c:rich>
                  <a:bodyPr/>
                  <a:lstStyle/>
                  <a:p>
                    <a:r>
                      <a:t>1409.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7F-43ED-AC1A-009577D3949F}"/>
                </c:ext>
              </c:extLst>
            </c:dLbl>
            <c:dLbl>
              <c:idx val="9"/>
              <c:tx>
                <c:rich>
                  <a:bodyPr/>
                  <a:lstStyle/>
                  <a:p>
                    <a:r>
                      <a:t>11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7F-43ED-AC1A-009577D3949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No Spray Fluido</c:v>
                  </c:pt>
                  <c:pt idx="8">
                    <c:v>Spray Liquido</c:v>
                  </c:pt>
                </c:lvl>
              </c:multiLvlStrCache>
            </c:multiLvlStrRef>
          </c:cat>
          <c:val>
            <c:numRef>
              <c:f>Sheet1!$D$2:$D$11</c:f>
              <c:numCache>
                <c:formatCode>General</c:formatCode>
                <c:ptCount val="10"/>
                <c:pt idx="0">
                  <c:v>2036.5506</c:v>
                </c:pt>
                <c:pt idx="1">
                  <c:v>1026.9552000000001</c:v>
                </c:pt>
                <c:pt idx="2">
                  <c:v>1379.3695</c:v>
                </c:pt>
                <c:pt idx="3">
                  <c:v>1137.9819</c:v>
                </c:pt>
                <c:pt idx="4">
                  <c:v>1767.5198</c:v>
                </c:pt>
                <c:pt idx="5">
                  <c:v>482.24079999999998</c:v>
                </c:pt>
                <c:pt idx="6">
                  <c:v>10681.6818</c:v>
                </c:pt>
                <c:pt idx="7">
                  <c:v>5846.7142999999996</c:v>
                </c:pt>
                <c:pt idx="8">
                  <c:v>1409.2646</c:v>
                </c:pt>
                <c:pt idx="9">
                  <c:v>1142.417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3566-4EC4-99E7-F6EA9F64D4C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3566-4EC4-99E7-F6EA9F64D4C6}"/>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2.3</c:v>
                </c:pt>
                <c:pt idx="1">
                  <c:v>9.8000000000000007</c:v>
                </c:pt>
                <c:pt idx="2">
                  <c:v>68.599999999999994</c:v>
                </c:pt>
                <c:pt idx="3">
                  <c:v>3.4</c:v>
                </c:pt>
                <c:pt idx="4">
                  <c:v>31.1</c:v>
                </c:pt>
                <c:pt idx="5">
                  <c:v>7.9</c:v>
                </c:pt>
                <c:pt idx="6">
                  <c:v>27.5</c:v>
                </c:pt>
                <c:pt idx="7">
                  <c:v>1.3</c:v>
                </c:pt>
                <c:pt idx="8">
                  <c:v>8.5</c:v>
                </c:pt>
                <c:pt idx="9">
                  <c:v>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566-4EC4-99E7-F6EA9F64D4C6}"/>
                </c:ext>
              </c:extLst>
            </c:dLbl>
            <c:dLbl>
              <c:idx val="1"/>
              <c:tx>
                <c:rich>
                  <a:bodyPr/>
                  <a:lstStyle/>
                  <a:p>
                    <a:r>
                      <a:t>103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566-4EC4-99E7-F6EA9F64D4C6}"/>
                </c:ext>
              </c:extLst>
            </c:dLbl>
            <c:dLbl>
              <c:idx val="2"/>
              <c:tx>
                <c:rich>
                  <a:bodyPr/>
                  <a:lstStyle/>
                  <a:p>
                    <a:r>
                      <a:t>129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566-4EC4-99E7-F6EA9F64D4C6}"/>
                </c:ext>
              </c:extLst>
            </c:dLbl>
            <c:dLbl>
              <c:idx val="3"/>
              <c:tx>
                <c:rich>
                  <a:bodyPr/>
                  <a:lstStyle/>
                  <a:p>
                    <a:r>
                      <a:t>113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566-4EC4-99E7-F6EA9F64D4C6}"/>
                </c:ext>
              </c:extLst>
            </c:dLbl>
            <c:dLbl>
              <c:idx val="4"/>
              <c:tx>
                <c:rich>
                  <a:bodyPr/>
                  <a:lstStyle/>
                  <a:p>
                    <a:r>
                      <a:t>1366.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566-4EC4-99E7-F6EA9F64D4C6}"/>
                </c:ext>
              </c:extLst>
            </c:dLbl>
            <c:dLbl>
              <c:idx val="5"/>
              <c:tx>
                <c:rich>
                  <a:bodyPr/>
                  <a:lstStyle/>
                  <a:p>
                    <a:r>
                      <a:t>12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566-4EC4-99E7-F6EA9F64D4C6}"/>
                </c:ext>
              </c:extLst>
            </c:dLbl>
            <c:dLbl>
              <c:idx val="6"/>
              <c:tx>
                <c:rich>
                  <a:bodyPr/>
                  <a:lstStyle/>
                  <a:p>
                    <a:r>
                      <a:t>1096.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3566-4EC4-99E7-F6EA9F64D4C6}"/>
                </c:ext>
              </c:extLst>
            </c:dLbl>
            <c:dLbl>
              <c:idx val="7"/>
              <c:tx>
                <c:rich>
                  <a:bodyPr/>
                  <a:lstStyle/>
                  <a:p>
                    <a:r>
                      <a:t>42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3566-4EC4-99E7-F6EA9F64D4C6}"/>
                </c:ext>
              </c:extLst>
            </c:dLbl>
            <c:dLbl>
              <c:idx val="8"/>
              <c:tx>
                <c:rich>
                  <a:bodyPr/>
                  <a:lstStyle/>
                  <a:p>
                    <a:r>
                      <a:t>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3566-4EC4-99E7-F6EA9F64D4C6}"/>
                </c:ext>
              </c:extLst>
            </c:dLbl>
            <c:dLbl>
              <c:idx val="9"/>
              <c:tx>
                <c:rich>
                  <a:bodyPr/>
                  <a:lstStyle/>
                  <a:p>
                    <a:r>
                      <a:t>1248.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3566-4EC4-99E7-F6EA9F64D4C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328.3386</c:v>
                </c:pt>
                <c:pt idx="1">
                  <c:v>1034.7769000000001</c:v>
                </c:pt>
                <c:pt idx="2">
                  <c:v>1293.9094</c:v>
                </c:pt>
                <c:pt idx="3">
                  <c:v>1131.8087</c:v>
                </c:pt>
                <c:pt idx="4">
                  <c:v>1366.2236</c:v>
                </c:pt>
                <c:pt idx="5">
                  <c:v>1254.4918</c:v>
                </c:pt>
                <c:pt idx="6">
                  <c:v>1096.7208000000001</c:v>
                </c:pt>
                <c:pt idx="7">
                  <c:v>424.45600000000002</c:v>
                </c:pt>
                <c:pt idx="8">
                  <c:v>1295.1990000000001</c:v>
                </c:pt>
                <c:pt idx="9">
                  <c:v>1248.86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61C-4320-A30E-A6DD1E9BEF0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761C-4320-A30E-A6DD1E9BEF0A}"/>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26</c:v>
                </c:pt>
                <c:pt idx="1">
                  <c:v>11.2</c:v>
                </c:pt>
                <c:pt idx="2">
                  <c:v>61.7</c:v>
                </c:pt>
                <c:pt idx="3">
                  <c:v>4.5999999999999996</c:v>
                </c:pt>
                <c:pt idx="4">
                  <c:v>25.2</c:v>
                </c:pt>
                <c:pt idx="5">
                  <c:v>1.1000000000000001</c:v>
                </c:pt>
                <c:pt idx="6">
                  <c:v>17.100000000000001</c:v>
                </c:pt>
                <c:pt idx="7">
                  <c:v>4.4000000000000004</c:v>
                </c:pt>
                <c:pt idx="8">
                  <c:v>9</c:v>
                </c:pt>
                <c:pt idx="9">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61C-4320-A30E-A6DD1E9BEF0A}"/>
                </c:ext>
              </c:extLst>
            </c:dLbl>
            <c:dLbl>
              <c:idx val="1"/>
              <c:tx>
                <c:rich>
                  <a:bodyPr/>
                  <a:lstStyle/>
                  <a:p>
                    <a:r>
                      <a:t>1057.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61C-4320-A30E-A6DD1E9BEF0A}"/>
                </c:ext>
              </c:extLst>
            </c:dLbl>
            <c:dLbl>
              <c:idx val="2"/>
              <c:tx>
                <c:rich>
                  <a:bodyPr/>
                  <a:lstStyle/>
                  <a:p>
                    <a:r>
                      <a:t>135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61C-4320-A30E-A6DD1E9BEF0A}"/>
                </c:ext>
              </c:extLst>
            </c:dLbl>
            <c:dLbl>
              <c:idx val="3"/>
              <c:tx>
                <c:rich>
                  <a:bodyPr/>
                  <a:lstStyle/>
                  <a:p>
                    <a:r>
                      <a:t>1094.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61C-4320-A30E-A6DD1E9BEF0A}"/>
                </c:ext>
              </c:extLst>
            </c:dLbl>
            <c:dLbl>
              <c:idx val="4"/>
              <c:tx>
                <c:rich>
                  <a:bodyPr/>
                  <a:lstStyle/>
                  <a:p>
                    <a:r>
                      <a:t>1409.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61C-4320-A30E-A6DD1E9BEF0A}"/>
                </c:ext>
              </c:extLst>
            </c:dLbl>
            <c:dLbl>
              <c:idx val="5"/>
              <c:tx>
                <c:rich>
                  <a:bodyPr/>
                  <a:lstStyle/>
                  <a:p>
                    <a:r>
                      <a:t>43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61C-4320-A30E-A6DD1E9BEF0A}"/>
                </c:ext>
              </c:extLst>
            </c:dLbl>
            <c:dLbl>
              <c:idx val="6"/>
              <c:tx>
                <c:rich>
                  <a:bodyPr/>
                  <a:lstStyle/>
                  <a:p>
                    <a:r>
                      <a:t>137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61C-4320-A30E-A6DD1E9BEF0A}"/>
                </c:ext>
              </c:extLst>
            </c:dLbl>
            <c:dLbl>
              <c:idx val="7"/>
              <c:tx>
                <c:rich>
                  <a:bodyPr/>
                  <a:lstStyle/>
                  <a:p>
                    <a:r>
                      <a:t>117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61C-4320-A30E-A6DD1E9BEF0A}"/>
                </c:ext>
              </c:extLst>
            </c:dLbl>
            <c:dLbl>
              <c:idx val="8"/>
              <c:tx>
                <c:rich>
                  <a:bodyPr/>
                  <a:lstStyle/>
                  <a:p>
                    <a:r>
                      <a:t>1175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61C-4320-A30E-A6DD1E9BEF0A}"/>
                </c:ext>
              </c:extLst>
            </c:dLbl>
            <c:dLbl>
              <c:idx val="9"/>
              <c:tx>
                <c:rich>
                  <a:bodyPr/>
                  <a:lstStyle/>
                  <a:p>
                    <a:r>
                      <a:t>50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61C-4320-A30E-A6DD1E9BEF0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532.6045999999999</c:v>
                </c:pt>
                <c:pt idx="1">
                  <c:v>1057.5328</c:v>
                </c:pt>
                <c:pt idx="2">
                  <c:v>1356.777</c:v>
                </c:pt>
                <c:pt idx="3">
                  <c:v>1094.6384</c:v>
                </c:pt>
                <c:pt idx="4">
                  <c:v>1409.5581</c:v>
                </c:pt>
                <c:pt idx="5">
                  <c:v>433.2525</c:v>
                </c:pt>
                <c:pt idx="6">
                  <c:v>1378.8089</c:v>
                </c:pt>
                <c:pt idx="7">
                  <c:v>1178.4088999999999</c:v>
                </c:pt>
                <c:pt idx="8">
                  <c:v>11757.1438</c:v>
                </c:pt>
                <c:pt idx="9">
                  <c:v>5096.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7C4-42B1-833D-69F05AA5AF2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F7C4-42B1-833D-69F05AA5AF2E}"/>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6.9</c:v>
                </c:pt>
                <c:pt idx="1">
                  <c:v>13</c:v>
                </c:pt>
                <c:pt idx="2">
                  <c:v>56.1</c:v>
                </c:pt>
                <c:pt idx="3">
                  <c:v>4.8</c:v>
                </c:pt>
                <c:pt idx="4">
                  <c:v>24.2</c:v>
                </c:pt>
                <c:pt idx="5">
                  <c:v>7.6</c:v>
                </c:pt>
                <c:pt idx="6">
                  <c:v>20.7</c:v>
                </c:pt>
                <c:pt idx="7">
                  <c:v>1.5</c:v>
                </c:pt>
                <c:pt idx="8">
                  <c:v>8.8000000000000007</c:v>
                </c:pt>
                <c:pt idx="9">
                  <c:v>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4.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7C4-42B1-833D-69F05AA5AF2E}"/>
                </c:ext>
              </c:extLst>
            </c:dLbl>
            <c:dLbl>
              <c:idx val="1"/>
              <c:tx>
                <c:rich>
                  <a:bodyPr/>
                  <a:lstStyle/>
                  <a:p>
                    <a:r>
                      <a:t>1082.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7C4-42B1-833D-69F05AA5AF2E}"/>
                </c:ext>
              </c:extLst>
            </c:dLbl>
            <c:dLbl>
              <c:idx val="2"/>
              <c:tx>
                <c:rich>
                  <a:bodyPr/>
                  <a:lstStyle/>
                  <a:p>
                    <a:r>
                      <a:t>1376.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7C4-42B1-833D-69F05AA5AF2E}"/>
                </c:ext>
              </c:extLst>
            </c:dLbl>
            <c:dLbl>
              <c:idx val="3"/>
              <c:tx>
                <c:rich>
                  <a:bodyPr/>
                  <a:lstStyle/>
                  <a:p>
                    <a:r>
                      <a:t>1117.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7C4-42B1-833D-69F05AA5AF2E}"/>
                </c:ext>
              </c:extLst>
            </c:dLbl>
            <c:dLbl>
              <c:idx val="4"/>
              <c:tx>
                <c:rich>
                  <a:bodyPr/>
                  <a:lstStyle/>
                  <a:p>
                    <a:r>
                      <a:t>1460.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7C4-42B1-833D-69F05AA5AF2E}"/>
                </c:ext>
              </c:extLst>
            </c:dLbl>
            <c:dLbl>
              <c:idx val="5"/>
              <c:tx>
                <c:rich>
                  <a:bodyPr/>
                  <a:lstStyle/>
                  <a:p>
                    <a:r>
                      <a:t>1396.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7C4-42B1-833D-69F05AA5AF2E}"/>
                </c:ext>
              </c:extLst>
            </c:dLbl>
            <c:dLbl>
              <c:idx val="6"/>
              <c:tx>
                <c:rich>
                  <a:bodyPr/>
                  <a:lstStyle/>
                  <a:p>
                    <a:r>
                      <a:t>136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7C4-42B1-833D-69F05AA5AF2E}"/>
                </c:ext>
              </c:extLst>
            </c:dLbl>
            <c:dLbl>
              <c:idx val="7"/>
              <c:tx>
                <c:rich>
                  <a:bodyPr/>
                  <a:lstStyle/>
                  <a:p>
                    <a:r>
                      <a:t>448.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7C4-42B1-833D-69F05AA5AF2E}"/>
                </c:ext>
              </c:extLst>
            </c:dLbl>
            <c:dLbl>
              <c:idx val="8"/>
              <c:tx>
                <c:rich>
                  <a:bodyPr/>
                  <a:lstStyle/>
                  <a:p>
                    <a:r>
                      <a:t>140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7C4-42B1-833D-69F05AA5AF2E}"/>
                </c:ext>
              </c:extLst>
            </c:dLbl>
            <c:dLbl>
              <c:idx val="9"/>
              <c:tx>
                <c:rich>
                  <a:bodyPr/>
                  <a:lstStyle/>
                  <a:p>
                    <a:r>
                      <a:t>1325.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7C4-42B1-833D-69F05AA5AF2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34.6503</c:v>
                </c:pt>
                <c:pt idx="1">
                  <c:v>1082.2348999999999</c:v>
                </c:pt>
                <c:pt idx="2">
                  <c:v>1376.7646</c:v>
                </c:pt>
                <c:pt idx="3">
                  <c:v>1117.8551</c:v>
                </c:pt>
                <c:pt idx="4">
                  <c:v>1460.5051000000001</c:v>
                </c:pt>
                <c:pt idx="5">
                  <c:v>1396.8724</c:v>
                </c:pt>
                <c:pt idx="6">
                  <c:v>1360.1494</c:v>
                </c:pt>
                <c:pt idx="7">
                  <c:v>448.95030000000003</c:v>
                </c:pt>
                <c:pt idx="8">
                  <c:v>1409.5431000000001</c:v>
                </c:pt>
                <c:pt idx="9">
                  <c:v>1325.966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520-4E99-924D-09CB3BCE6F1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520-4E99-924D-09CB3BCE6F1F}"/>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79.099999999999994</c:v>
                </c:pt>
                <c:pt idx="1">
                  <c:v>7.9</c:v>
                </c:pt>
                <c:pt idx="2">
                  <c:v>44.5</c:v>
                </c:pt>
                <c:pt idx="3">
                  <c:v>3.1</c:v>
                </c:pt>
                <c:pt idx="4">
                  <c:v>24.6</c:v>
                </c:pt>
                <c:pt idx="5">
                  <c:v>8.6</c:v>
                </c:pt>
                <c:pt idx="6">
                  <c:v>15.5</c:v>
                </c:pt>
                <c:pt idx="7">
                  <c:v>0.9</c:v>
                </c:pt>
                <c:pt idx="8">
                  <c:v>5.7</c:v>
                </c:pt>
                <c:pt idx="9">
                  <c:v>4.90000000000000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6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520-4E99-924D-09CB3BCE6F1F}"/>
                </c:ext>
              </c:extLst>
            </c:dLbl>
            <c:dLbl>
              <c:idx val="1"/>
              <c:tx>
                <c:rich>
                  <a:bodyPr/>
                  <a:lstStyle/>
                  <a:p>
                    <a:r>
                      <a:t>108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520-4E99-924D-09CB3BCE6F1F}"/>
                </c:ext>
              </c:extLst>
            </c:dLbl>
            <c:dLbl>
              <c:idx val="2"/>
              <c:tx>
                <c:rich>
                  <a:bodyPr/>
                  <a:lstStyle/>
                  <a:p>
                    <a:r>
                      <a:t>13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520-4E99-924D-09CB3BCE6F1F}"/>
                </c:ext>
              </c:extLst>
            </c:dLbl>
            <c:dLbl>
              <c:idx val="3"/>
              <c:tx>
                <c:rich>
                  <a:bodyPr/>
                  <a:lstStyle/>
                  <a:p>
                    <a:r>
                      <a:t>1109.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520-4E99-924D-09CB3BCE6F1F}"/>
                </c:ext>
              </c:extLst>
            </c:dLbl>
            <c:dLbl>
              <c:idx val="4"/>
              <c:tx>
                <c:rich>
                  <a:bodyPr/>
                  <a:lstStyle/>
                  <a:p>
                    <a:r>
                      <a:t>144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520-4E99-924D-09CB3BCE6F1F}"/>
                </c:ext>
              </c:extLst>
            </c:dLbl>
            <c:dLbl>
              <c:idx val="5"/>
              <c:tx>
                <c:rich>
                  <a:bodyPr/>
                  <a:lstStyle/>
                  <a:p>
                    <a:r>
                      <a:t>138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520-4E99-924D-09CB3BCE6F1F}"/>
                </c:ext>
              </c:extLst>
            </c:dLbl>
            <c:dLbl>
              <c:idx val="6"/>
              <c:tx>
                <c:rich>
                  <a:bodyPr/>
                  <a:lstStyle/>
                  <a:p>
                    <a:r>
                      <a:t>1303.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520-4E99-924D-09CB3BCE6F1F}"/>
                </c:ext>
              </c:extLst>
            </c:dLbl>
            <c:dLbl>
              <c:idx val="7"/>
              <c:tx>
                <c:rich>
                  <a:bodyPr/>
                  <a:lstStyle/>
                  <a:p>
                    <a:r>
                      <a:t>43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520-4E99-924D-09CB3BCE6F1F}"/>
                </c:ext>
              </c:extLst>
            </c:dLbl>
            <c:dLbl>
              <c:idx val="8"/>
              <c:tx>
                <c:rich>
                  <a:bodyPr/>
                  <a:lstStyle/>
                  <a:p>
                    <a:r>
                      <a:t>14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520-4E99-924D-09CB3BCE6F1F}"/>
                </c:ext>
              </c:extLst>
            </c:dLbl>
            <c:dLbl>
              <c:idx val="9"/>
              <c:tx>
                <c:rich>
                  <a:bodyPr/>
                  <a:lstStyle/>
                  <a:p>
                    <a:r>
                      <a:t>1360.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520-4E99-924D-09CB3BCE6F1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64.0227</c:v>
                </c:pt>
                <c:pt idx="1">
                  <c:v>1085.58</c:v>
                </c:pt>
                <c:pt idx="2">
                  <c:v>1380.4037000000001</c:v>
                </c:pt>
                <c:pt idx="3">
                  <c:v>1109.8208999999999</c:v>
                </c:pt>
                <c:pt idx="4">
                  <c:v>1444.4340999999999</c:v>
                </c:pt>
                <c:pt idx="5">
                  <c:v>1381.3669</c:v>
                </c:pt>
                <c:pt idx="6">
                  <c:v>1303.0379</c:v>
                </c:pt>
                <c:pt idx="7">
                  <c:v>432.37430000000001</c:v>
                </c:pt>
                <c:pt idx="8">
                  <c:v>1471.5245</c:v>
                </c:pt>
                <c:pt idx="9">
                  <c:v>1360.256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8BD-4E7D-A9BC-84E10A8ED9E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F8BD-4E7D-A9BC-84E10A8ED9E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756.5</c:v>
                </c:pt>
                <c:pt idx="1">
                  <c:v>0</c:v>
                </c:pt>
                <c:pt idx="2">
                  <c:v>368.2</c:v>
                </c:pt>
                <c:pt idx="3">
                  <c:v>12.5</c:v>
                </c:pt>
                <c:pt idx="4">
                  <c:v>146.80000000000001</c:v>
                </c:pt>
                <c:pt idx="5">
                  <c:v>0</c:v>
                </c:pt>
                <c:pt idx="6">
                  <c:v>133.69999999999999</c:v>
                </c:pt>
                <c:pt idx="7">
                  <c:v>0</c:v>
                </c:pt>
                <c:pt idx="8">
                  <c:v>56.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0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8BD-4E7D-A9BC-84E10A8ED9E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8BD-4E7D-A9BC-84E10A8ED9EC}"/>
                </c:ext>
              </c:extLst>
            </c:dLbl>
            <c:dLbl>
              <c:idx val="2"/>
              <c:tx>
                <c:rich>
                  <a:bodyPr/>
                  <a:lstStyle/>
                  <a:p>
                    <a:r>
                      <a:t>135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8BD-4E7D-A9BC-84E10A8ED9EC}"/>
                </c:ext>
              </c:extLst>
            </c:dLbl>
            <c:dLbl>
              <c:idx val="3"/>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8BD-4E7D-A9BC-84E10A8ED9EC}"/>
                </c:ext>
              </c:extLst>
            </c:dLbl>
            <c:dLbl>
              <c:idx val="4"/>
              <c:tx>
                <c:rich>
                  <a:bodyPr/>
                  <a:lstStyle/>
                  <a:p>
                    <a:r>
                      <a:t>136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8BD-4E7D-A9BC-84E10A8ED9E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8BD-4E7D-A9BC-84E10A8ED9EC}"/>
                </c:ext>
              </c:extLst>
            </c:dLbl>
            <c:dLbl>
              <c:idx val="6"/>
              <c:tx>
                <c:rich>
                  <a:bodyPr/>
                  <a:lstStyle/>
                  <a:p>
                    <a:r>
                      <a:t>140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8BD-4E7D-A9BC-84E10A8ED9E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8BD-4E7D-A9BC-84E10A8ED9EC}"/>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8BD-4E7D-A9BC-84E10A8ED9E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8BD-4E7D-A9BC-84E10A8ED9E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05.6334999999999</c:v>
                </c:pt>
                <c:pt idx="1">
                  <c:v>0</c:v>
                </c:pt>
                <c:pt idx="2">
                  <c:v>1356.6373000000001</c:v>
                </c:pt>
                <c:pt idx="3">
                  <c:v>4025.5318000000002</c:v>
                </c:pt>
                <c:pt idx="4">
                  <c:v>1363.3117</c:v>
                </c:pt>
                <c:pt idx="5">
                  <c:v>0</c:v>
                </c:pt>
                <c:pt idx="6">
                  <c:v>1403.0264</c:v>
                </c:pt>
                <c:pt idx="7">
                  <c:v>0</c:v>
                </c:pt>
                <c:pt idx="8">
                  <c:v>10910.9212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120-4744-9A16-84246EB6E40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8120-4744-9A16-84246EB6E408}"/>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71.4</c:v>
                </c:pt>
                <c:pt idx="1">
                  <c:v>0</c:v>
                </c:pt>
                <c:pt idx="2">
                  <c:v>83.9</c:v>
                </c:pt>
                <c:pt idx="3">
                  <c:v>3</c:v>
                </c:pt>
                <c:pt idx="4">
                  <c:v>30.3</c:v>
                </c:pt>
                <c:pt idx="5">
                  <c:v>0</c:v>
                </c:pt>
                <c:pt idx="6">
                  <c:v>21.3</c:v>
                </c:pt>
                <c:pt idx="7">
                  <c:v>0</c:v>
                </c:pt>
                <c:pt idx="8">
                  <c:v>11.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120-4744-9A16-84246EB6E408}"/>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120-4744-9A16-84246EB6E408}"/>
                </c:ext>
              </c:extLst>
            </c:dLbl>
            <c:dLbl>
              <c:idx val="2"/>
              <c:tx>
                <c:rich>
                  <a:bodyPr/>
                  <a:lstStyle/>
                  <a:p>
                    <a:r>
                      <a:t>137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120-4744-9A16-84246EB6E408}"/>
                </c:ext>
              </c:extLst>
            </c:dLbl>
            <c:dLbl>
              <c:idx val="3"/>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120-4744-9A16-84246EB6E408}"/>
                </c:ext>
              </c:extLst>
            </c:dLbl>
            <c:dLbl>
              <c:idx val="4"/>
              <c:tx>
                <c:rich>
                  <a:bodyPr/>
                  <a:lstStyle/>
                  <a:p>
                    <a:r>
                      <a:t>137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120-4744-9A16-84246EB6E40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120-4744-9A16-84246EB6E408}"/>
                </c:ext>
              </c:extLst>
            </c:dLbl>
            <c:dLbl>
              <c:idx val="6"/>
              <c:tx>
                <c:rich>
                  <a:bodyPr/>
                  <a:lstStyle/>
                  <a:p>
                    <a:r>
                      <a:t>136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120-4744-9A16-84246EB6E40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120-4744-9A16-84246EB6E408}"/>
                </c:ext>
              </c:extLst>
            </c:dLbl>
            <c:dLbl>
              <c:idx val="8"/>
              <c:tx>
                <c:rich>
                  <a:bodyPr/>
                  <a:lstStyle/>
                  <a:p>
                    <a:r>
                      <a:t>1040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120-4744-9A16-84246EB6E40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120-4744-9A16-84246EB6E40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54.489</c:v>
                </c:pt>
                <c:pt idx="1">
                  <c:v>0</c:v>
                </c:pt>
                <c:pt idx="2">
                  <c:v>1370.5171</c:v>
                </c:pt>
                <c:pt idx="3">
                  <c:v>4341.9049999999997</c:v>
                </c:pt>
                <c:pt idx="4">
                  <c:v>1376.4056</c:v>
                </c:pt>
                <c:pt idx="5">
                  <c:v>0</c:v>
                </c:pt>
                <c:pt idx="6">
                  <c:v>1365.3920000000001</c:v>
                </c:pt>
                <c:pt idx="7">
                  <c:v>0</c:v>
                </c:pt>
                <c:pt idx="8">
                  <c:v>10403.2415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B6E939-BB6E-4D20-97B7-AC57E9301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B133E3-75DF-48BB-93A4-DBD56814D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41809E-1E37-4B6F-8B51-0A379A214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87BE2B-BE1A-43A5-B928-A549BDBA5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9BC837-6637-4C4D-804A-8F7F990C7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89E583-E52C-4088-88C1-C17098AFC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9E09521-7FFF-482F-9C6B-3A5FB3D30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630AD7-1941-4265-8BA5-2B62BC05B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75550000000001</c:v>
                </c:pt>
                <c:pt idx="1">
                  <c:v>211.72900000000001</c:v>
                </c:pt>
                <c:pt idx="2">
                  <c:v>223.8245</c:v>
                </c:pt>
                <c:pt idx="3">
                  <c:v>590.55079999999998</c:v>
                </c:pt>
                <c:pt idx="4">
                  <c:v>288.5933</c:v>
                </c:pt>
                <c:pt idx="5">
                  <c:v>84.691199999999995</c:v>
                </c:pt>
                <c:pt idx="6">
                  <c:v>585.46230000000003</c:v>
                </c:pt>
                <c:pt idx="7">
                  <c:v>214.86019999999999</c:v>
                </c:pt>
              </c:numCache>
            </c:numRef>
          </c:xVal>
          <c:yVal>
            <c:numRef>
              <c:f>Sheet1!$B$2:$B$9</c:f>
              <c:numCache>
                <c:formatCode>General</c:formatCode>
                <c:ptCount val="8"/>
                <c:pt idx="0">
                  <c:v>1.0489999999999999</c:v>
                </c:pt>
                <c:pt idx="1">
                  <c:v>0.75700000000000001</c:v>
                </c:pt>
                <c:pt idx="2">
                  <c:v>0.72199999999999998</c:v>
                </c:pt>
                <c:pt idx="3">
                  <c:v>4.0620000000000003</c:v>
                </c:pt>
                <c:pt idx="4">
                  <c:v>2.0569999999999999</c:v>
                </c:pt>
                <c:pt idx="5">
                  <c:v>0.44400000000000001</c:v>
                </c:pt>
                <c:pt idx="6">
                  <c:v>5.1210000000000004</c:v>
                </c:pt>
                <c:pt idx="7">
                  <c:v>2.746</c:v>
                </c:pt>
              </c:numCache>
            </c:numRef>
          </c:yVal>
          <c:bubbleSize>
            <c:numRef>
              <c:f>Sheet1!$C$2:$C$9</c:f>
              <c:numCache>
                <c:formatCode>General</c:formatCode>
                <c:ptCount val="8"/>
                <c:pt idx="0">
                  <c:v>90276351</c:v>
                </c:pt>
                <c:pt idx="1">
                  <c:v>42299860</c:v>
                </c:pt>
                <c:pt idx="2">
                  <c:v>32509165</c:v>
                </c:pt>
                <c:pt idx="3">
                  <c:v>17830499</c:v>
                </c:pt>
                <c:pt idx="4">
                  <c:v>16300038</c:v>
                </c:pt>
                <c:pt idx="5">
                  <c:v>12513725</c:v>
                </c:pt>
                <c:pt idx="6">
                  <c:v>7144396</c:v>
                </c:pt>
                <c:pt idx="7">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Eucerin</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582CC62-A577-4A7B-AD6F-1F8F6FA6A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6360D02-C3A7-4617-B795-81F0D8465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1142FE9D-7B2D-4545-95BA-8878D96AC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B730B67-333A-40C9-8C18-929EF15A6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0CBCF3F-0C18-41DB-9DFD-268F327AC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E75554E-2DF5-468B-85FC-1BE77876A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BE43ABC-8C6D-431F-9CE7-1A9171B16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CA0512B-F75E-41EC-9D23-3B42C90AE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3.56569999999999</c:v>
                </c:pt>
                <c:pt idx="1">
                  <c:v>241.40860000000001</c:v>
                </c:pt>
                <c:pt idx="2">
                  <c:v>76.486699999999999</c:v>
                </c:pt>
                <c:pt idx="3">
                  <c:v>74.547200000000004</c:v>
                </c:pt>
                <c:pt idx="4">
                  <c:v>698.39509999999996</c:v>
                </c:pt>
                <c:pt idx="5">
                  <c:v>594.69389999999999</c:v>
                </c:pt>
                <c:pt idx="6">
                  <c:v>139.28970000000001</c:v>
                </c:pt>
              </c:numCache>
            </c:numRef>
          </c:xVal>
          <c:yVal>
            <c:numRef>
              <c:f>Sheet1!$B$2:$B$8</c:f>
              <c:numCache>
                <c:formatCode>General</c:formatCode>
                <c:ptCount val="7"/>
                <c:pt idx="0">
                  <c:v>1.288</c:v>
                </c:pt>
                <c:pt idx="1">
                  <c:v>1.079</c:v>
                </c:pt>
                <c:pt idx="2">
                  <c:v>0.54900000000000004</c:v>
                </c:pt>
                <c:pt idx="3">
                  <c:v>0.55500000000000005</c:v>
                </c:pt>
                <c:pt idx="4">
                  <c:v>4.0540000000000003</c:v>
                </c:pt>
                <c:pt idx="5">
                  <c:v>2.7639999999999998</c:v>
                </c:pt>
                <c:pt idx="6">
                  <c:v>0.53100000000000003</c:v>
                </c:pt>
              </c:numCache>
            </c:numRef>
          </c:yVal>
          <c:bubbleSize>
            <c:numRef>
              <c:f>Sheet1!$C$2:$C$8</c:f>
              <c:numCache>
                <c:formatCode>General</c:formatCode>
                <c:ptCount val="7"/>
                <c:pt idx="0">
                  <c:v>11074228</c:v>
                </c:pt>
                <c:pt idx="1">
                  <c:v>6712365</c:v>
                </c:pt>
                <c:pt idx="2">
                  <c:v>2603377</c:v>
                </c:pt>
                <c:pt idx="3">
                  <c:v>1038144</c:v>
                </c:pt>
                <c:pt idx="4">
                  <c:v>399482</c:v>
                </c:pt>
                <c:pt idx="5">
                  <c:v>349680</c:v>
                </c:pt>
                <c:pt idx="6">
                  <c:v>130793</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Hawaiian Tropic</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8"/>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BE56-4E9F-AA18-E8B3554C7D9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BE56-4E9F-AA18-E8B3554C7D99}"/>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No Spray Fluido</c:v>
                  </c:pt>
                  <c:pt idx="8">
                    <c:v>Spray Liquido</c:v>
                  </c:pt>
                </c:lvl>
              </c:multiLvlStrCache>
            </c:multiLvlStrRef>
          </c:cat>
          <c:val>
            <c:numRef>
              <c:f>Sheet1!$C$2:$C$11</c:f>
              <c:numCache>
                <c:formatCode>General</c:formatCode>
                <c:ptCount val="10"/>
                <c:pt idx="0">
                  <c:v>150.69999999999999</c:v>
                </c:pt>
                <c:pt idx="1">
                  <c:v>0</c:v>
                </c:pt>
                <c:pt idx="2">
                  <c:v>53.5</c:v>
                </c:pt>
                <c:pt idx="3">
                  <c:v>1.9</c:v>
                </c:pt>
                <c:pt idx="4">
                  <c:v>27.7</c:v>
                </c:pt>
                <c:pt idx="5">
                  <c:v>0</c:v>
                </c:pt>
                <c:pt idx="6">
                  <c:v>21.2</c:v>
                </c:pt>
                <c:pt idx="7">
                  <c:v>0</c:v>
                </c:pt>
                <c:pt idx="8">
                  <c:v>15.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36.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E56-4E9F-AA18-E8B3554C7D9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E56-4E9F-AA18-E8B3554C7D99}"/>
                </c:ext>
              </c:extLst>
            </c:dLbl>
            <c:dLbl>
              <c:idx val="2"/>
              <c:tx>
                <c:rich>
                  <a:bodyPr/>
                  <a:lstStyle/>
                  <a:p>
                    <a:r>
                      <a:t>137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E56-4E9F-AA18-E8B3554C7D99}"/>
                </c:ext>
              </c:extLst>
            </c:dLbl>
            <c:dLbl>
              <c:idx val="3"/>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E56-4E9F-AA18-E8B3554C7D99}"/>
                </c:ext>
              </c:extLst>
            </c:dLbl>
            <c:dLbl>
              <c:idx val="4"/>
              <c:tx>
                <c:rich>
                  <a:bodyPr/>
                  <a:lstStyle/>
                  <a:p>
                    <a:r>
                      <a:t>1767.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E56-4E9F-AA18-E8B3554C7D9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E56-4E9F-AA18-E8B3554C7D99}"/>
                </c:ext>
              </c:extLst>
            </c:dLbl>
            <c:dLbl>
              <c:idx val="6"/>
              <c:tx>
                <c:rich>
                  <a:bodyPr/>
                  <a:lstStyle/>
                  <a:p>
                    <a:r>
                      <a:t>1068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E56-4E9F-AA18-E8B3554C7D9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E56-4E9F-AA18-E8B3554C7D99}"/>
                </c:ext>
              </c:extLst>
            </c:dLbl>
            <c:dLbl>
              <c:idx val="8"/>
              <c:tx>
                <c:rich>
                  <a:bodyPr/>
                  <a:lstStyle/>
                  <a:p>
                    <a:r>
                      <a:t>1409.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E56-4E9F-AA18-E8B3554C7D9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E56-4E9F-AA18-E8B3554C7D9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No Spray Fluido</c:v>
                  </c:pt>
                  <c:pt idx="8">
                    <c:v>Spray Liquido</c:v>
                  </c:pt>
                </c:lvl>
              </c:multiLvlStrCache>
            </c:multiLvlStrRef>
          </c:cat>
          <c:val>
            <c:numRef>
              <c:f>Sheet1!$D$2:$D$11</c:f>
              <c:numCache>
                <c:formatCode>General</c:formatCode>
                <c:ptCount val="10"/>
                <c:pt idx="0">
                  <c:v>2036.5506</c:v>
                </c:pt>
                <c:pt idx="1">
                  <c:v>0</c:v>
                </c:pt>
                <c:pt idx="2">
                  <c:v>1379.3695</c:v>
                </c:pt>
                <c:pt idx="3">
                  <c:v>4279.4597999999996</c:v>
                </c:pt>
                <c:pt idx="4">
                  <c:v>1767.5198</c:v>
                </c:pt>
                <c:pt idx="5">
                  <c:v>0</c:v>
                </c:pt>
                <c:pt idx="6">
                  <c:v>10681.6818</c:v>
                </c:pt>
                <c:pt idx="7">
                  <c:v>0</c:v>
                </c:pt>
                <c:pt idx="8">
                  <c:v>1409.2646</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A815-40DD-B7A2-EA1C272495A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A815-40DD-B7A2-EA1C272495A6}"/>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2.3</c:v>
                </c:pt>
                <c:pt idx="1">
                  <c:v>0</c:v>
                </c:pt>
                <c:pt idx="2">
                  <c:v>68.599999999999994</c:v>
                </c:pt>
                <c:pt idx="3">
                  <c:v>2.2000000000000002</c:v>
                </c:pt>
                <c:pt idx="4">
                  <c:v>31.1</c:v>
                </c:pt>
                <c:pt idx="5">
                  <c:v>0</c:v>
                </c:pt>
                <c:pt idx="6">
                  <c:v>27.5</c:v>
                </c:pt>
                <c:pt idx="7">
                  <c:v>0</c:v>
                </c:pt>
                <c:pt idx="8">
                  <c:v>8.5</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815-40DD-B7A2-EA1C272495A6}"/>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815-40DD-B7A2-EA1C272495A6}"/>
                </c:ext>
              </c:extLst>
            </c:dLbl>
            <c:dLbl>
              <c:idx val="2"/>
              <c:tx>
                <c:rich>
                  <a:bodyPr/>
                  <a:lstStyle/>
                  <a:p>
                    <a:r>
                      <a:t>129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815-40DD-B7A2-EA1C272495A6}"/>
                </c:ext>
              </c:extLst>
            </c:dLbl>
            <c:dLbl>
              <c:idx val="3"/>
              <c:tx>
                <c:rich>
                  <a:bodyPr/>
                  <a:lstStyle/>
                  <a:p>
                    <a:r>
                      <a:t>310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815-40DD-B7A2-EA1C272495A6}"/>
                </c:ext>
              </c:extLst>
            </c:dLbl>
            <c:dLbl>
              <c:idx val="4"/>
              <c:tx>
                <c:rich>
                  <a:bodyPr/>
                  <a:lstStyle/>
                  <a:p>
                    <a:r>
                      <a:t>1366.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815-40DD-B7A2-EA1C272495A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815-40DD-B7A2-EA1C272495A6}"/>
                </c:ext>
              </c:extLst>
            </c:dLbl>
            <c:dLbl>
              <c:idx val="6"/>
              <c:tx>
                <c:rich>
                  <a:bodyPr/>
                  <a:lstStyle/>
                  <a:p>
                    <a:r>
                      <a:t>1096.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815-40DD-B7A2-EA1C272495A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815-40DD-B7A2-EA1C272495A6}"/>
                </c:ext>
              </c:extLst>
            </c:dLbl>
            <c:dLbl>
              <c:idx val="8"/>
              <c:tx>
                <c:rich>
                  <a:bodyPr/>
                  <a:lstStyle/>
                  <a:p>
                    <a:r>
                      <a:t>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815-40DD-B7A2-EA1C272495A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815-40DD-B7A2-EA1C272495A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328.3386</c:v>
                </c:pt>
                <c:pt idx="1">
                  <c:v>0</c:v>
                </c:pt>
                <c:pt idx="2">
                  <c:v>1293.9094</c:v>
                </c:pt>
                <c:pt idx="3">
                  <c:v>3103.4389000000001</c:v>
                </c:pt>
                <c:pt idx="4">
                  <c:v>1366.2236</c:v>
                </c:pt>
                <c:pt idx="5">
                  <c:v>0</c:v>
                </c:pt>
                <c:pt idx="6">
                  <c:v>1096.7208000000001</c:v>
                </c:pt>
                <c:pt idx="7">
                  <c:v>0</c:v>
                </c:pt>
                <c:pt idx="8">
                  <c:v>1295.199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E11D-4B07-AB90-EE5200DA6E0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E11D-4B07-AB90-EE5200DA6E07}"/>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26</c:v>
                </c:pt>
                <c:pt idx="1">
                  <c:v>0</c:v>
                </c:pt>
                <c:pt idx="2">
                  <c:v>61.7</c:v>
                </c:pt>
                <c:pt idx="3">
                  <c:v>1.8</c:v>
                </c:pt>
                <c:pt idx="4">
                  <c:v>25.2</c:v>
                </c:pt>
                <c:pt idx="5">
                  <c:v>0</c:v>
                </c:pt>
                <c:pt idx="6">
                  <c:v>17.100000000000001</c:v>
                </c:pt>
                <c:pt idx="7">
                  <c:v>0</c:v>
                </c:pt>
                <c:pt idx="8">
                  <c:v>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11D-4B07-AB90-EE5200DA6E07}"/>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11D-4B07-AB90-EE5200DA6E07}"/>
                </c:ext>
              </c:extLst>
            </c:dLbl>
            <c:dLbl>
              <c:idx val="2"/>
              <c:tx>
                <c:rich>
                  <a:bodyPr/>
                  <a:lstStyle/>
                  <a:p>
                    <a:r>
                      <a:t>135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11D-4B07-AB90-EE5200DA6E07}"/>
                </c:ext>
              </c:extLst>
            </c:dLbl>
            <c:dLbl>
              <c:idx val="3"/>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11D-4B07-AB90-EE5200DA6E07}"/>
                </c:ext>
              </c:extLst>
            </c:dLbl>
            <c:dLbl>
              <c:idx val="4"/>
              <c:tx>
                <c:rich>
                  <a:bodyPr/>
                  <a:lstStyle/>
                  <a:p>
                    <a:r>
                      <a:t>1409.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11D-4B07-AB90-EE5200DA6E0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11D-4B07-AB90-EE5200DA6E07}"/>
                </c:ext>
              </c:extLst>
            </c:dLbl>
            <c:dLbl>
              <c:idx val="6"/>
              <c:tx>
                <c:rich>
                  <a:bodyPr/>
                  <a:lstStyle/>
                  <a:p>
                    <a:r>
                      <a:t>137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E11D-4B07-AB90-EE5200DA6E0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E11D-4B07-AB90-EE5200DA6E07}"/>
                </c:ext>
              </c:extLst>
            </c:dLbl>
            <c:dLbl>
              <c:idx val="8"/>
              <c:tx>
                <c:rich>
                  <a:bodyPr/>
                  <a:lstStyle/>
                  <a:p>
                    <a:r>
                      <a:t>1175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E11D-4B07-AB90-EE5200DA6E0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E11D-4B07-AB90-EE5200DA6E0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532.6045999999999</c:v>
                </c:pt>
                <c:pt idx="1">
                  <c:v>0</c:v>
                </c:pt>
                <c:pt idx="2">
                  <c:v>1356.777</c:v>
                </c:pt>
                <c:pt idx="3">
                  <c:v>4233.1399000000001</c:v>
                </c:pt>
                <c:pt idx="4">
                  <c:v>1409.5581</c:v>
                </c:pt>
                <c:pt idx="5">
                  <c:v>0</c:v>
                </c:pt>
                <c:pt idx="6">
                  <c:v>1378.8089</c:v>
                </c:pt>
                <c:pt idx="7">
                  <c:v>0</c:v>
                </c:pt>
                <c:pt idx="8">
                  <c:v>11757.143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CB48-4773-9D6E-69B077E8C07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CB48-4773-9D6E-69B077E8C070}"/>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6.9</c:v>
                </c:pt>
                <c:pt idx="1">
                  <c:v>0</c:v>
                </c:pt>
                <c:pt idx="2">
                  <c:v>56.1</c:v>
                </c:pt>
                <c:pt idx="3">
                  <c:v>2</c:v>
                </c:pt>
                <c:pt idx="4">
                  <c:v>24.2</c:v>
                </c:pt>
                <c:pt idx="5">
                  <c:v>0</c:v>
                </c:pt>
                <c:pt idx="6">
                  <c:v>20.7</c:v>
                </c:pt>
                <c:pt idx="7">
                  <c:v>0</c:v>
                </c:pt>
                <c:pt idx="8">
                  <c:v>8.800000000000000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4.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B48-4773-9D6E-69B077E8C070}"/>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B48-4773-9D6E-69B077E8C070}"/>
                </c:ext>
              </c:extLst>
            </c:dLbl>
            <c:dLbl>
              <c:idx val="2"/>
              <c:tx>
                <c:rich>
                  <a:bodyPr/>
                  <a:lstStyle/>
                  <a:p>
                    <a:r>
                      <a:t>1376.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B48-4773-9D6E-69B077E8C070}"/>
                </c:ext>
              </c:extLst>
            </c:dLbl>
            <c:dLbl>
              <c:idx val="3"/>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B48-4773-9D6E-69B077E8C070}"/>
                </c:ext>
              </c:extLst>
            </c:dLbl>
            <c:dLbl>
              <c:idx val="4"/>
              <c:tx>
                <c:rich>
                  <a:bodyPr/>
                  <a:lstStyle/>
                  <a:p>
                    <a:r>
                      <a:t>1460.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B48-4773-9D6E-69B077E8C07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B48-4773-9D6E-69B077E8C070}"/>
                </c:ext>
              </c:extLst>
            </c:dLbl>
            <c:dLbl>
              <c:idx val="6"/>
              <c:tx>
                <c:rich>
                  <a:bodyPr/>
                  <a:lstStyle/>
                  <a:p>
                    <a:r>
                      <a:t>136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B48-4773-9D6E-69B077E8C07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B48-4773-9D6E-69B077E8C070}"/>
                </c:ext>
              </c:extLst>
            </c:dLbl>
            <c:dLbl>
              <c:idx val="8"/>
              <c:tx>
                <c:rich>
                  <a:bodyPr/>
                  <a:lstStyle/>
                  <a:p>
                    <a:r>
                      <a:t>140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B48-4773-9D6E-69B077E8C07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B48-4773-9D6E-69B077E8C07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34.6503</c:v>
                </c:pt>
                <c:pt idx="1">
                  <c:v>0</c:v>
                </c:pt>
                <c:pt idx="2">
                  <c:v>1376.7646</c:v>
                </c:pt>
                <c:pt idx="3">
                  <c:v>4326.9489999999996</c:v>
                </c:pt>
                <c:pt idx="4">
                  <c:v>1460.5051000000001</c:v>
                </c:pt>
                <c:pt idx="5">
                  <c:v>0</c:v>
                </c:pt>
                <c:pt idx="6">
                  <c:v>1360.1494</c:v>
                </c:pt>
                <c:pt idx="7">
                  <c:v>0</c:v>
                </c:pt>
                <c:pt idx="8">
                  <c:v>1409.5431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46E8-41A8-A7E5-0352CECDE5B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46E8-41A8-A7E5-0352CECDE5BD}"/>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79.099999999999994</c:v>
                </c:pt>
                <c:pt idx="1">
                  <c:v>0</c:v>
                </c:pt>
                <c:pt idx="2">
                  <c:v>44.5</c:v>
                </c:pt>
                <c:pt idx="3">
                  <c:v>1.5</c:v>
                </c:pt>
                <c:pt idx="4">
                  <c:v>24.6</c:v>
                </c:pt>
                <c:pt idx="5">
                  <c:v>0</c:v>
                </c:pt>
                <c:pt idx="6">
                  <c:v>15.5</c:v>
                </c:pt>
                <c:pt idx="7">
                  <c:v>0</c:v>
                </c:pt>
                <c:pt idx="8">
                  <c:v>5.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6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6E8-41A8-A7E5-0352CECDE5BD}"/>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6E8-41A8-A7E5-0352CECDE5BD}"/>
                </c:ext>
              </c:extLst>
            </c:dLbl>
            <c:dLbl>
              <c:idx val="2"/>
              <c:tx>
                <c:rich>
                  <a:bodyPr/>
                  <a:lstStyle/>
                  <a:p>
                    <a:r>
                      <a:t>13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6E8-41A8-A7E5-0352CECDE5BD}"/>
                </c:ext>
              </c:extLst>
            </c:dLbl>
            <c:dLbl>
              <c:idx val="3"/>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6E8-41A8-A7E5-0352CECDE5BD}"/>
                </c:ext>
              </c:extLst>
            </c:dLbl>
            <c:dLbl>
              <c:idx val="4"/>
              <c:tx>
                <c:rich>
                  <a:bodyPr/>
                  <a:lstStyle/>
                  <a:p>
                    <a:r>
                      <a:t>1444.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6E8-41A8-A7E5-0352CECDE5B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6E8-41A8-A7E5-0352CECDE5BD}"/>
                </c:ext>
              </c:extLst>
            </c:dLbl>
            <c:dLbl>
              <c:idx val="6"/>
              <c:tx>
                <c:rich>
                  <a:bodyPr/>
                  <a:lstStyle/>
                  <a:p>
                    <a:r>
                      <a:t>1303.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6E8-41A8-A7E5-0352CECDE5B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6E8-41A8-A7E5-0352CECDE5BD}"/>
                </c:ext>
              </c:extLst>
            </c:dLbl>
            <c:dLbl>
              <c:idx val="8"/>
              <c:tx>
                <c:rich>
                  <a:bodyPr/>
                  <a:lstStyle/>
                  <a:p>
                    <a:r>
                      <a:t>14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6E8-41A8-A7E5-0352CECDE5BD}"/>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6E8-41A8-A7E5-0352CECDE5B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64.0227</c:v>
                </c:pt>
                <c:pt idx="1">
                  <c:v>0</c:v>
                </c:pt>
                <c:pt idx="2">
                  <c:v>1380.4037000000001</c:v>
                </c:pt>
                <c:pt idx="3">
                  <c:v>4326.4348</c:v>
                </c:pt>
                <c:pt idx="4">
                  <c:v>1444.4340999999999</c:v>
                </c:pt>
                <c:pt idx="5">
                  <c:v>0</c:v>
                </c:pt>
                <c:pt idx="6">
                  <c:v>1303.0379</c:v>
                </c:pt>
                <c:pt idx="7">
                  <c:v>0</c:v>
                </c:pt>
                <c:pt idx="8">
                  <c:v>1471.524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A50E1B-D10A-4B10-92E9-C02E9F3E9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73C30B-AD70-48D7-8CE9-0D828A58C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1410DD-DFFD-4BC7-AD3C-18DDB84A0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A0E19F-6A87-4859-8152-C9B6F6628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A57697-49BC-452B-942D-65C9FC076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A589BF-81AE-4A5B-9A23-C9A80656A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E32D33-034F-47E3-8EE4-745818D52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9A6BD1F-81D0-4DFF-82E5-5A1CF6651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64400000000001</c:v>
                </c:pt>
                <c:pt idx="1">
                  <c:v>216.98830000000001</c:v>
                </c:pt>
                <c:pt idx="2">
                  <c:v>239.3914</c:v>
                </c:pt>
                <c:pt idx="3">
                  <c:v>586.88099999999997</c:v>
                </c:pt>
                <c:pt idx="4">
                  <c:v>296.93049999999999</c:v>
                </c:pt>
                <c:pt idx="5">
                  <c:v>88.240200000000002</c:v>
                </c:pt>
                <c:pt idx="6">
                  <c:v>572.46550000000002</c:v>
                </c:pt>
                <c:pt idx="7">
                  <c:v>221.1781</c:v>
                </c:pt>
              </c:numCache>
            </c:numRef>
          </c:xVal>
          <c:yVal>
            <c:numRef>
              <c:f>Sheet1!$B$2:$B$9</c:f>
              <c:numCache>
                <c:formatCode>General</c:formatCode>
                <c:ptCount val="8"/>
                <c:pt idx="0">
                  <c:v>1.0369999999999999</c:v>
                </c:pt>
                <c:pt idx="1">
                  <c:v>0.75</c:v>
                </c:pt>
                <c:pt idx="2">
                  <c:v>0.754</c:v>
                </c:pt>
                <c:pt idx="3">
                  <c:v>3.7080000000000002</c:v>
                </c:pt>
                <c:pt idx="4">
                  <c:v>2.056</c:v>
                </c:pt>
                <c:pt idx="5">
                  <c:v>0.40699999999999997</c:v>
                </c:pt>
                <c:pt idx="6">
                  <c:v>6.4710000000000001</c:v>
                </c:pt>
                <c:pt idx="7">
                  <c:v>2.597</c:v>
                </c:pt>
              </c:numCache>
            </c:numRef>
          </c:yVal>
          <c:bubbleSize>
            <c:numRef>
              <c:f>Sheet1!$C$2:$C$9</c:f>
              <c:numCache>
                <c:formatCode>General</c:formatCode>
                <c:ptCount val="8"/>
                <c:pt idx="0">
                  <c:v>62386660</c:v>
                </c:pt>
                <c:pt idx="1">
                  <c:v>43481848</c:v>
                </c:pt>
                <c:pt idx="2">
                  <c:v>31112739</c:v>
                </c:pt>
                <c:pt idx="3">
                  <c:v>16232541</c:v>
                </c:pt>
                <c:pt idx="4">
                  <c:v>15380108</c:v>
                </c:pt>
                <c:pt idx="5">
                  <c:v>8716542</c:v>
                </c:pt>
                <c:pt idx="6">
                  <c:v>5961083</c:v>
                </c:pt>
                <c:pt idx="7">
                  <c:v>195145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4"/>
          <c:min val="7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AE7717D-FCBA-4E2D-A4C9-9770335AB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1B30EAD-8458-4A0F-ACA0-437AF5BE5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6442A91-C04D-4D4F-942D-124D442FE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7F15626-114B-4EAF-852D-BC3B51888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DED93ED-A353-4C8E-98BE-5613C7095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AD98F9D-59CF-4ACD-8B36-0162BE77E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540D3705-AB76-4860-BF70-F544BBFB5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EA2D99F-F987-4BCB-8789-5369E1C96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13559999999995</c:v>
                </c:pt>
                <c:pt idx="1">
                  <c:v>269.39550000000003</c:v>
                </c:pt>
                <c:pt idx="2">
                  <c:v>500.07139999999998</c:v>
                </c:pt>
                <c:pt idx="3">
                  <c:v>490.04419999999999</c:v>
                </c:pt>
                <c:pt idx="4">
                  <c:v>179.2867</c:v>
                </c:pt>
                <c:pt idx="5">
                  <c:v>368.32260000000002</c:v>
                </c:pt>
              </c:numCache>
            </c:numRef>
          </c:xVal>
          <c:yVal>
            <c:numRef>
              <c:f>Sheet1!$B$2:$B$7</c:f>
              <c:numCache>
                <c:formatCode>General</c:formatCode>
                <c:ptCount val="6"/>
                <c:pt idx="0">
                  <c:v>3.9670000000000001</c:v>
                </c:pt>
                <c:pt idx="1">
                  <c:v>0.68899999999999995</c:v>
                </c:pt>
                <c:pt idx="2">
                  <c:v>3.95</c:v>
                </c:pt>
                <c:pt idx="3">
                  <c:v>6.6929999999999996</c:v>
                </c:pt>
                <c:pt idx="4">
                  <c:v>0.36299999999999999</c:v>
                </c:pt>
                <c:pt idx="5">
                  <c:v>7.516</c:v>
                </c:pt>
              </c:numCache>
            </c:numRef>
          </c:yVal>
          <c:bubbleSize>
            <c:numRef>
              <c:f>Sheet1!$C$2:$C$7</c:f>
              <c:numCache>
                <c:formatCode>General</c:formatCode>
                <c:ptCount val="6"/>
                <c:pt idx="0">
                  <c:v>415809</c:v>
                </c:pt>
                <c:pt idx="1">
                  <c:v>215247</c:v>
                </c:pt>
                <c:pt idx="2">
                  <c:v>126018</c:v>
                </c:pt>
                <c:pt idx="3">
                  <c:v>122021</c:v>
                </c:pt>
                <c:pt idx="4">
                  <c:v>76914</c:v>
                </c:pt>
                <c:pt idx="5">
                  <c:v>34254</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
          <c:min val="14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1D3E3DD-92C2-4F3B-AC5A-43039E0DD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98C4CC2-97AE-4DED-BD2A-67F80F229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E2F4764-2FAD-404E-A5E5-00A30DB07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7C5CCCE-ACFE-4CEE-B0BD-3773937FB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CD12420-D1D5-4A41-B19A-E2E4FD2C7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7067556A-E6B3-4835-9345-1056EFD7C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D6482FC9-2C41-4539-8E25-E8E16B6C9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5BBBB19-C1E8-484F-9FAE-9C98B3D08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8802</c:v>
                </c:pt>
                <c:pt idx="1">
                  <c:v>257.74939999999998</c:v>
                </c:pt>
                <c:pt idx="2">
                  <c:v>78.932100000000005</c:v>
                </c:pt>
                <c:pt idx="3">
                  <c:v>74.726100000000002</c:v>
                </c:pt>
                <c:pt idx="4">
                  <c:v>703.94470000000001</c:v>
                </c:pt>
                <c:pt idx="5">
                  <c:v>604.1472</c:v>
                </c:pt>
                <c:pt idx="6">
                  <c:v>581.92420000000004</c:v>
                </c:pt>
                <c:pt idx="7">
                  <c:v>141.6833</c:v>
                </c:pt>
              </c:numCache>
            </c:numRef>
          </c:xVal>
          <c:yVal>
            <c:numRef>
              <c:f>Sheet1!$B$2:$B$9</c:f>
              <c:numCache>
                <c:formatCode>General</c:formatCode>
                <c:ptCount val="8"/>
                <c:pt idx="0">
                  <c:v>1.3029999999999999</c:v>
                </c:pt>
                <c:pt idx="1">
                  <c:v>1.1299999999999999</c:v>
                </c:pt>
                <c:pt idx="2">
                  <c:v>0.52400000000000002</c:v>
                </c:pt>
                <c:pt idx="3">
                  <c:v>0.54500000000000004</c:v>
                </c:pt>
                <c:pt idx="4">
                  <c:v>4.17</c:v>
                </c:pt>
                <c:pt idx="5">
                  <c:v>2.746</c:v>
                </c:pt>
                <c:pt idx="6">
                  <c:v>2.5649999999999999</c:v>
                </c:pt>
                <c:pt idx="7">
                  <c:v>0.56399999999999995</c:v>
                </c:pt>
              </c:numCache>
            </c:numRef>
          </c:yVal>
          <c:bubbleSize>
            <c:numRef>
              <c:f>Sheet1!$C$2:$C$9</c:f>
              <c:numCache>
                <c:formatCode>General</c:formatCode>
                <c:ptCount val="8"/>
                <c:pt idx="0">
                  <c:v>8828185</c:v>
                </c:pt>
                <c:pt idx="1">
                  <c:v>7927597</c:v>
                </c:pt>
                <c:pt idx="2">
                  <c:v>2649356</c:v>
                </c:pt>
                <c:pt idx="3">
                  <c:v>995501</c:v>
                </c:pt>
                <c:pt idx="4">
                  <c:v>420255</c:v>
                </c:pt>
                <c:pt idx="5">
                  <c:v>336510</c:v>
                </c:pt>
                <c:pt idx="6">
                  <c:v>238007</c:v>
                </c:pt>
                <c:pt idx="7">
                  <c:v>56815</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Eucerin</c:v>
                  </c:pt>
                  <c:pt idx="7">
                    <c:v>Hawaiian Tropic</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5"/>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231306-B97E-4411-8A69-1AEE11366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C42F60-2E9F-48EF-B59B-2083EC2FD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EF2F2F-A639-45EA-804B-52D6D891D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286E6D-88B7-4B01-8E8C-BB4CB371A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18275E-D71E-4F2E-8E27-30110046B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C3F493-384E-41B3-957B-753D47C38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963AA4-946E-4CEE-B049-16797FF4B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BC6A02-8F16-4B48-8106-A7124D555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4909999999999</c:v>
                </c:pt>
                <c:pt idx="1">
                  <c:v>219.30340000000001</c:v>
                </c:pt>
                <c:pt idx="2">
                  <c:v>245.6148</c:v>
                </c:pt>
                <c:pt idx="3">
                  <c:v>295.54790000000003</c:v>
                </c:pt>
                <c:pt idx="4">
                  <c:v>599.46270000000004</c:v>
                </c:pt>
                <c:pt idx="5">
                  <c:v>84.131200000000007</c:v>
                </c:pt>
                <c:pt idx="6">
                  <c:v>553.62249999999995</c:v>
                </c:pt>
                <c:pt idx="7">
                  <c:v>222.31460000000001</c:v>
                </c:pt>
              </c:numCache>
            </c:numRef>
          </c:xVal>
          <c:yVal>
            <c:numRef>
              <c:f>Sheet1!$B$2:$B$9</c:f>
              <c:numCache>
                <c:formatCode>General</c:formatCode>
                <c:ptCount val="8"/>
                <c:pt idx="0">
                  <c:v>1.077</c:v>
                </c:pt>
                <c:pt idx="1">
                  <c:v>0.77700000000000002</c:v>
                </c:pt>
                <c:pt idx="2">
                  <c:v>0.80300000000000005</c:v>
                </c:pt>
                <c:pt idx="3">
                  <c:v>2.069</c:v>
                </c:pt>
                <c:pt idx="4">
                  <c:v>4.165</c:v>
                </c:pt>
                <c:pt idx="5">
                  <c:v>0.42399999999999999</c:v>
                </c:pt>
                <c:pt idx="6">
                  <c:v>7.5510000000000002</c:v>
                </c:pt>
                <c:pt idx="7">
                  <c:v>2.67</c:v>
                </c:pt>
              </c:numCache>
            </c:numRef>
          </c:yVal>
          <c:bubbleSize>
            <c:numRef>
              <c:f>Sheet1!$C$2:$C$9</c:f>
              <c:numCache>
                <c:formatCode>General</c:formatCode>
                <c:ptCount val="8"/>
                <c:pt idx="0">
                  <c:v>61063981</c:v>
                </c:pt>
                <c:pt idx="1">
                  <c:v>31605343</c:v>
                </c:pt>
                <c:pt idx="2">
                  <c:v>24390778</c:v>
                </c:pt>
                <c:pt idx="3">
                  <c:v>9309759</c:v>
                </c:pt>
                <c:pt idx="4">
                  <c:v>5655931</c:v>
                </c:pt>
                <c:pt idx="5">
                  <c:v>4398549</c:v>
                </c:pt>
                <c:pt idx="6">
                  <c:v>3022225</c:v>
                </c:pt>
                <c:pt idx="7">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9"/>
          <c:min val="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BED7F20-B62F-4D15-A63D-AD83526C0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C3408F6-7F68-454E-AB8B-0352F1315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F63294D-7F18-49CC-8B0B-84D6CC3E1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8E5991B-F50C-4DF0-B853-F3DEB1BD1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E970B4D-3989-43D9-A1D0-105934686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456DFFF-2648-45B9-A624-9E0E71ECA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846EDF7-9971-4B6B-BE30-1DB5E3A06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B1E1DE95-9E27-4DDB-A83A-F34567DEB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9.94139999999999</c:v>
                </c:pt>
                <c:pt idx="1">
                  <c:v>632.34590000000003</c:v>
                </c:pt>
                <c:pt idx="2">
                  <c:v>474.79500000000002</c:v>
                </c:pt>
                <c:pt idx="3">
                  <c:v>555.6875</c:v>
                </c:pt>
                <c:pt idx="4">
                  <c:v>219.75810000000001</c:v>
                </c:pt>
                <c:pt idx="5">
                  <c:v>988.11109999999996</c:v>
                </c:pt>
              </c:numCache>
            </c:numRef>
          </c:xVal>
          <c:yVal>
            <c:numRef>
              <c:f>Sheet1!$B$2:$B$7</c:f>
              <c:numCache>
                <c:formatCode>General</c:formatCode>
                <c:ptCount val="6"/>
                <c:pt idx="0">
                  <c:v>0.754</c:v>
                </c:pt>
                <c:pt idx="1">
                  <c:v>39.856000000000002</c:v>
                </c:pt>
                <c:pt idx="2">
                  <c:v>6.0380000000000003</c:v>
                </c:pt>
                <c:pt idx="3">
                  <c:v>0</c:v>
                </c:pt>
                <c:pt idx="4">
                  <c:v>0.56100000000000005</c:v>
                </c:pt>
                <c:pt idx="5">
                  <c:v>0</c:v>
                </c:pt>
              </c:numCache>
            </c:numRef>
          </c:yVal>
          <c:bubbleSize>
            <c:numRef>
              <c:f>Sheet1!$C$2:$C$7</c:f>
              <c:numCache>
                <c:formatCode>General</c:formatCode>
                <c:ptCount val="6"/>
                <c:pt idx="0">
                  <c:v>179781</c:v>
                </c:pt>
                <c:pt idx="1">
                  <c:v>168204</c:v>
                </c:pt>
                <c:pt idx="2">
                  <c:v>76442</c:v>
                </c:pt>
                <c:pt idx="3">
                  <c:v>35564</c:v>
                </c:pt>
                <c:pt idx="4">
                  <c:v>27250</c:v>
                </c:pt>
                <c:pt idx="5">
                  <c:v>8893</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6"/>
          <c:min val="17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4975D9E-669B-4C37-98F6-AB102ADB7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198E997-6D17-4F88-87A0-75C80DEE3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A24C360-8756-4F3B-809C-01902E0D2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B5399CC-B1B9-4571-8FAE-14B5C7E70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20F6806-5999-4E3C-BC82-427636A8D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E9AF415E-CF13-4782-A5AB-BEEFC346C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E115AFC-957F-4917-A7D4-EBAA2EB18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C3B97ED-E40E-4251-BD75-7CBB69447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52.07159999999999</c:v>
                </c:pt>
                <c:pt idx="1">
                  <c:v>251.59039999999999</c:v>
                </c:pt>
                <c:pt idx="2">
                  <c:v>70.286000000000001</c:v>
                </c:pt>
                <c:pt idx="3">
                  <c:v>73.144199999999998</c:v>
                </c:pt>
                <c:pt idx="4">
                  <c:v>124.3258</c:v>
                </c:pt>
              </c:numCache>
            </c:numRef>
          </c:xVal>
          <c:yVal>
            <c:numRef>
              <c:f>Sheet1!$B$2:$B$6</c:f>
              <c:numCache>
                <c:formatCode>General</c:formatCode>
                <c:ptCount val="5"/>
                <c:pt idx="0">
                  <c:v>1.23</c:v>
                </c:pt>
                <c:pt idx="1">
                  <c:v>1.083</c:v>
                </c:pt>
                <c:pt idx="2">
                  <c:v>0.48399999999999999</c:v>
                </c:pt>
                <c:pt idx="3">
                  <c:v>0.50700000000000001</c:v>
                </c:pt>
                <c:pt idx="4">
                  <c:v>0.44</c:v>
                </c:pt>
              </c:numCache>
            </c:numRef>
          </c:yVal>
          <c:bubbleSize>
            <c:numRef>
              <c:f>Sheet1!$C$2:$C$6</c:f>
              <c:numCache>
                <c:formatCode>General</c:formatCode>
                <c:ptCount val="5"/>
                <c:pt idx="0">
                  <c:v>7751455</c:v>
                </c:pt>
                <c:pt idx="1">
                  <c:v>5581029</c:v>
                </c:pt>
                <c:pt idx="2">
                  <c:v>1108551</c:v>
                </c:pt>
                <c:pt idx="3">
                  <c:v>411290</c:v>
                </c:pt>
                <c:pt idx="4">
                  <c:v>44260</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Hawaiian Tropic</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2"/>
          <c:min val="5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DA43C6-FE18-4DAB-87D5-FA6530078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C35909-9894-4C5A-BF36-19815389B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C1F4AB-91C0-4403-A79B-C74BAA762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508A4E-53DE-43D3-8A16-0F6033440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74829A-FC83-473D-8E84-49F4DA501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3149F7-6719-4B11-B0E0-B33C43CD3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8B4D866-4DB6-4395-AB01-D5A80CC0D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606CEA-BC66-44C9-A6D2-E53548CF0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31460000000001</c:v>
                </c:pt>
                <c:pt idx="1">
                  <c:v>211.96719999999999</c:v>
                </c:pt>
                <c:pt idx="2">
                  <c:v>216.7766</c:v>
                </c:pt>
                <c:pt idx="3">
                  <c:v>89.0047</c:v>
                </c:pt>
                <c:pt idx="4">
                  <c:v>74.360500000000002</c:v>
                </c:pt>
                <c:pt idx="5">
                  <c:v>206.30250000000001</c:v>
                </c:pt>
              </c:numCache>
            </c:numRef>
          </c:xVal>
          <c:yVal>
            <c:numRef>
              <c:f>Sheet1!$B$2:$B$7</c:f>
              <c:numCache>
                <c:formatCode>General</c:formatCode>
                <c:ptCount val="6"/>
                <c:pt idx="0">
                  <c:v>1.228</c:v>
                </c:pt>
                <c:pt idx="1">
                  <c:v>0.89900000000000002</c:v>
                </c:pt>
                <c:pt idx="2">
                  <c:v>0.89</c:v>
                </c:pt>
                <c:pt idx="3">
                  <c:v>0.49399999999999999</c:v>
                </c:pt>
                <c:pt idx="4">
                  <c:v>0.45700000000000002</c:v>
                </c:pt>
                <c:pt idx="5">
                  <c:v>2.9630000000000001</c:v>
                </c:pt>
              </c:numCache>
            </c:numRef>
          </c:yVal>
          <c:bubbleSize>
            <c:numRef>
              <c:f>Sheet1!$C$2:$C$7</c:f>
              <c:numCache>
                <c:formatCode>General</c:formatCode>
                <c:ptCount val="6"/>
                <c:pt idx="0">
                  <c:v>523432960</c:v>
                </c:pt>
                <c:pt idx="1">
                  <c:v>195439881</c:v>
                </c:pt>
                <c:pt idx="2">
                  <c:v>125391144</c:v>
                </c:pt>
                <c:pt idx="3">
                  <c:v>45802720</c:v>
                </c:pt>
                <c:pt idx="4">
                  <c:v>23746346</c:v>
                </c:pt>
                <c:pt idx="5">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DA4C38-134A-40FD-A67A-5C6E81F3A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E28DDA8-E5C1-4C69-9375-9E79F07FC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3138F4D-2F5A-4662-B6A6-C341768C2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5187260-9D1D-4DF7-BC3A-2698C1D3C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0A26727-EDA1-4D0E-8796-43F5BAF6A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0FF40B0-3948-4F47-A414-300205FEE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4F2110D-82F1-496F-8C46-1B9DFC9FD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8ECAFA2-BB6D-440C-BAD0-6F9325E64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7.1653</c:v>
                </c:pt>
                <c:pt idx="1">
                  <c:v>290.39089999999999</c:v>
                </c:pt>
                <c:pt idx="2">
                  <c:v>563.72080000000005</c:v>
                </c:pt>
                <c:pt idx="3">
                  <c:v>575.97080000000005</c:v>
                </c:pt>
                <c:pt idx="4">
                  <c:v>539.51080000000002</c:v>
                </c:pt>
                <c:pt idx="5">
                  <c:v>321.15899999999999</c:v>
                </c:pt>
                <c:pt idx="6">
                  <c:v>535.15009999999995</c:v>
                </c:pt>
                <c:pt idx="7">
                  <c:v>653.69380000000001</c:v>
                </c:pt>
              </c:numCache>
            </c:numRef>
          </c:xVal>
          <c:yVal>
            <c:numRef>
              <c:f>Sheet1!$B$2:$B$9</c:f>
              <c:numCache>
                <c:formatCode>General</c:formatCode>
                <c:ptCount val="8"/>
                <c:pt idx="0">
                  <c:v>1.419</c:v>
                </c:pt>
                <c:pt idx="1">
                  <c:v>0.68799999999999994</c:v>
                </c:pt>
                <c:pt idx="2">
                  <c:v>2.1349999999999998</c:v>
                </c:pt>
                <c:pt idx="3">
                  <c:v>1.708</c:v>
                </c:pt>
                <c:pt idx="4">
                  <c:v>1.4450000000000001</c:v>
                </c:pt>
                <c:pt idx="5">
                  <c:v>0.83499999999999996</c:v>
                </c:pt>
                <c:pt idx="6">
                  <c:v>1.907</c:v>
                </c:pt>
                <c:pt idx="7">
                  <c:v>1.1919999999999999</c:v>
                </c:pt>
              </c:numCache>
            </c:numRef>
          </c:yVal>
          <c:bubbleSize>
            <c:numRef>
              <c:f>Sheet1!$C$2:$C$9</c:f>
              <c:numCache>
                <c:formatCode>General</c:formatCode>
                <c:ptCount val="8"/>
                <c:pt idx="0">
                  <c:v>108131910</c:v>
                </c:pt>
                <c:pt idx="1">
                  <c:v>99186490</c:v>
                </c:pt>
                <c:pt idx="2">
                  <c:v>44526055</c:v>
                </c:pt>
                <c:pt idx="3">
                  <c:v>39227065</c:v>
                </c:pt>
                <c:pt idx="4">
                  <c:v>23762215</c:v>
                </c:pt>
                <c:pt idx="5">
                  <c:v>13025888</c:v>
                </c:pt>
                <c:pt idx="6">
                  <c:v>11742263</c:v>
                </c:pt>
                <c:pt idx="7">
                  <c:v>10758492</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La Roche-Posay</c:v>
                  </c:pt>
                  <c:pt idx="3">
                    <c:v>Eucerin</c:v>
                  </c:pt>
                  <c:pt idx="4">
                    <c:v>Avene</c:v>
                  </c:pt>
                  <c:pt idx="5">
                    <c:v>Eclipsol</c:v>
                  </c:pt>
                  <c:pt idx="6">
                    <c:v>Photoderm</c:v>
                  </c:pt>
                  <c:pt idx="7">
                    <c:v>Vich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4"/>
          <c:min val="23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E6998FC-5C53-4083-A38D-36980D9F8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4A191F2-8643-4350-BB1E-2964317EC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2E108E7-F9BB-418B-83CC-220D113D7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8FE80DB-F1F9-48B1-BE0B-AE04D0E4F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780BF75-9060-48E4-84F8-12D3E7A86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220E66D8-3C0D-471C-86F2-65404D048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FFF9C2A-2FFB-4E4D-BF61-E1DF37EC8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51DA914-B8A8-4A4B-B774-3A0A9BDA1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8.97280000000001</c:v>
                </c:pt>
                <c:pt idx="1">
                  <c:v>198.7268</c:v>
                </c:pt>
                <c:pt idx="2">
                  <c:v>74.766199999999998</c:v>
                </c:pt>
              </c:numCache>
            </c:numRef>
          </c:xVal>
          <c:yVal>
            <c:numRef>
              <c:f>Sheet1!$B$2:$B$4</c:f>
              <c:numCache>
                <c:formatCode>General</c:formatCode>
                <c:ptCount val="3"/>
                <c:pt idx="0">
                  <c:v>1.1319999999999999</c:v>
                </c:pt>
                <c:pt idx="1">
                  <c:v>1.077</c:v>
                </c:pt>
                <c:pt idx="2">
                  <c:v>0.59099999999999997</c:v>
                </c:pt>
              </c:numCache>
            </c:numRef>
          </c:yVal>
          <c:bubbleSize>
            <c:numRef>
              <c:f>Sheet1!$C$2:$C$4</c:f>
              <c:numCache>
                <c:formatCode>General</c:formatCode>
                <c:ptCount val="3"/>
                <c:pt idx="0">
                  <c:v>79888408</c:v>
                </c:pt>
                <c:pt idx="1">
                  <c:v>51049534</c:v>
                </c:pt>
                <c:pt idx="2">
                  <c:v>16190032</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9"/>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242496-3B62-410F-A72B-70C1D0617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41B02F-A4A2-444A-9FCD-D9F0ABED6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8D0739-5D20-4B95-BE11-5D64DC566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F17E48-645C-4990-8C12-9FC2ED094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637703-8956-4937-BE9E-21089A0A5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941CB9-A5F3-4290-95AA-C5DF9FCC6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70C817-6667-40D9-B5B0-BA172B4F7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F38506-F532-46EE-A517-B36B36A74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00409999999999</c:v>
                </c:pt>
                <c:pt idx="1">
                  <c:v>217.155</c:v>
                </c:pt>
                <c:pt idx="2">
                  <c:v>236.11</c:v>
                </c:pt>
                <c:pt idx="3">
                  <c:v>587.34699999999998</c:v>
                </c:pt>
                <c:pt idx="4">
                  <c:v>294.1069</c:v>
                </c:pt>
                <c:pt idx="5">
                  <c:v>85.754199999999997</c:v>
                </c:pt>
                <c:pt idx="6">
                  <c:v>531.87360000000001</c:v>
                </c:pt>
                <c:pt idx="7">
                  <c:v>221.1781</c:v>
                </c:pt>
              </c:numCache>
            </c:numRef>
          </c:xVal>
          <c:yVal>
            <c:numRef>
              <c:f>Sheet1!$B$2:$B$9</c:f>
              <c:numCache>
                <c:formatCode>General</c:formatCode>
                <c:ptCount val="8"/>
                <c:pt idx="0">
                  <c:v>1.0669999999999999</c:v>
                </c:pt>
                <c:pt idx="1">
                  <c:v>0.78100000000000003</c:v>
                </c:pt>
                <c:pt idx="2">
                  <c:v>0.76300000000000001</c:v>
                </c:pt>
                <c:pt idx="3">
                  <c:v>4.016</c:v>
                </c:pt>
                <c:pt idx="4">
                  <c:v>2.214</c:v>
                </c:pt>
                <c:pt idx="5">
                  <c:v>0.42199999999999999</c:v>
                </c:pt>
                <c:pt idx="6">
                  <c:v>6.5830000000000002</c:v>
                </c:pt>
                <c:pt idx="7">
                  <c:v>2.7909999999999999</c:v>
                </c:pt>
              </c:numCache>
            </c:numRef>
          </c:yVal>
          <c:bubbleSize>
            <c:numRef>
              <c:f>Sheet1!$C$2:$C$9</c:f>
              <c:numCache>
                <c:formatCode>General</c:formatCode>
                <c:ptCount val="8"/>
                <c:pt idx="0">
                  <c:v>73169020</c:v>
                </c:pt>
                <c:pt idx="1">
                  <c:v>47917858</c:v>
                </c:pt>
                <c:pt idx="2">
                  <c:v>41380400</c:v>
                </c:pt>
                <c:pt idx="3">
                  <c:v>16648350</c:v>
                </c:pt>
                <c:pt idx="4">
                  <c:v>15534431</c:v>
                </c:pt>
                <c:pt idx="5">
                  <c:v>11401966</c:v>
                </c:pt>
                <c:pt idx="6">
                  <c:v>7256352</c:v>
                </c:pt>
                <c:pt idx="7">
                  <c:v>195145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6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75AB02-AEBE-456D-B52B-A28710E67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670731-0B7A-4114-B2C4-727B8CD9A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5C32F8-55DE-48E5-BD22-BE5023A80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C8ADB2-4737-425F-899F-F23850611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2D79F0-85B7-42E1-9BD3-1EF43611D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99C3CA-F2DB-4E71-A426-7B29D4732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D8ABEB-F485-4B55-919A-9CD925C59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0A5480-1901-4963-A9E0-FA587D892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2715</c:v>
                </c:pt>
                <c:pt idx="1">
                  <c:v>202.05410000000001</c:v>
                </c:pt>
                <c:pt idx="2">
                  <c:v>210.22110000000001</c:v>
                </c:pt>
                <c:pt idx="3">
                  <c:v>88.932699999999997</c:v>
                </c:pt>
                <c:pt idx="4">
                  <c:v>74.712599999999995</c:v>
                </c:pt>
                <c:pt idx="5">
                  <c:v>227.98609999999999</c:v>
                </c:pt>
              </c:numCache>
            </c:numRef>
          </c:xVal>
          <c:yVal>
            <c:numRef>
              <c:f>Sheet1!$B$2:$B$7</c:f>
              <c:numCache>
                <c:formatCode>General</c:formatCode>
                <c:ptCount val="6"/>
                <c:pt idx="0">
                  <c:v>1.228</c:v>
                </c:pt>
                <c:pt idx="1">
                  <c:v>0.89</c:v>
                </c:pt>
                <c:pt idx="2">
                  <c:v>0.84799999999999998</c:v>
                </c:pt>
                <c:pt idx="3">
                  <c:v>0.48599999999999999</c:v>
                </c:pt>
                <c:pt idx="4">
                  <c:v>0.45400000000000001</c:v>
                </c:pt>
                <c:pt idx="5">
                  <c:v>3.1619999999999999</c:v>
                </c:pt>
              </c:numCache>
            </c:numRef>
          </c:yVal>
          <c:bubbleSize>
            <c:numRef>
              <c:f>Sheet1!$C$2:$C$7</c:f>
              <c:numCache>
                <c:formatCode>General</c:formatCode>
                <c:ptCount val="6"/>
                <c:pt idx="0">
                  <c:v>111274571</c:v>
                </c:pt>
                <c:pt idx="1">
                  <c:v>42646557</c:v>
                </c:pt>
                <c:pt idx="2">
                  <c:v>26225287</c:v>
                </c:pt>
                <c:pt idx="3">
                  <c:v>9310814</c:v>
                </c:pt>
                <c:pt idx="4">
                  <c:v>6583303</c:v>
                </c:pt>
                <c:pt idx="5">
                  <c:v>30176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075353F-FCFD-4EE8-892D-B76DC32B9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C0697EF-D126-4028-B95F-3F0D3470E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0327E2B-11CD-4C26-B41D-C52338876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C1089C3-5A3B-4625-95C8-A65740F4F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5E46D30-DC48-4E98-8765-F246ADC11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81B865F-7D04-4EC2-AE00-7AE613FB1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7C6E6C8-F0BB-4F8D-803A-5A2593F7B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4031F51-6923-48D3-92D7-A0F051E2F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9.72550000000001</c:v>
                </c:pt>
                <c:pt idx="1">
                  <c:v>591.12919999999997</c:v>
                </c:pt>
                <c:pt idx="2">
                  <c:v>569.41700000000003</c:v>
                </c:pt>
                <c:pt idx="3">
                  <c:v>592.00930000000005</c:v>
                </c:pt>
                <c:pt idx="4">
                  <c:v>556.07929999999999</c:v>
                </c:pt>
                <c:pt idx="5">
                  <c:v>326.05040000000002</c:v>
                </c:pt>
                <c:pt idx="6">
                  <c:v>385.44869999999997</c:v>
                </c:pt>
                <c:pt idx="7">
                  <c:v>591.68880000000001</c:v>
                </c:pt>
              </c:numCache>
            </c:numRef>
          </c:xVal>
          <c:yVal>
            <c:numRef>
              <c:f>Sheet1!$B$2:$B$9</c:f>
              <c:numCache>
                <c:formatCode>General</c:formatCode>
                <c:ptCount val="8"/>
                <c:pt idx="0">
                  <c:v>0.71199999999999997</c:v>
                </c:pt>
                <c:pt idx="1">
                  <c:v>1.508</c:v>
                </c:pt>
                <c:pt idx="2">
                  <c:v>1.7490000000000001</c:v>
                </c:pt>
                <c:pt idx="3">
                  <c:v>2.423</c:v>
                </c:pt>
                <c:pt idx="4">
                  <c:v>1.486</c:v>
                </c:pt>
                <c:pt idx="5">
                  <c:v>0.85899999999999999</c:v>
                </c:pt>
                <c:pt idx="6">
                  <c:v>1.347</c:v>
                </c:pt>
                <c:pt idx="7">
                  <c:v>2.2000000000000002</c:v>
                </c:pt>
              </c:numCache>
            </c:numRef>
          </c:yVal>
          <c:bubbleSize>
            <c:numRef>
              <c:f>Sheet1!$C$2:$C$9</c:f>
              <c:numCache>
                <c:formatCode>General</c:formatCode>
                <c:ptCount val="8"/>
                <c:pt idx="0">
                  <c:v>27304308</c:v>
                </c:pt>
                <c:pt idx="1">
                  <c:v>25478849</c:v>
                </c:pt>
                <c:pt idx="2">
                  <c:v>9237082</c:v>
                </c:pt>
                <c:pt idx="3">
                  <c:v>7009390</c:v>
                </c:pt>
                <c:pt idx="4">
                  <c:v>3777447</c:v>
                </c:pt>
                <c:pt idx="5">
                  <c:v>3575795</c:v>
                </c:pt>
                <c:pt idx="6">
                  <c:v>2497322</c:v>
                </c:pt>
                <c:pt idx="7">
                  <c:v>1840744</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Eucerin</c:v>
                  </c:pt>
                  <c:pt idx="3">
                    <c:v>La Roche-Posay</c:v>
                  </c:pt>
                  <c:pt idx="4">
                    <c:v>Avene</c:v>
                  </c:pt>
                  <c:pt idx="5">
                    <c:v>Eclipsol</c:v>
                  </c:pt>
                  <c:pt idx="6">
                    <c:v>Cetaphil</c:v>
                  </c:pt>
                  <c:pt idx="7">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
          <c:min val="23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80199F6-2459-4ADB-806D-C49DD2C61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A8BF761-7011-44B6-9C3D-D15CCEFF9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7331498-4CAD-4E7F-B0D8-D0C35A8BE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AD09BFF3-31FB-44B1-95C8-24E289F1A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F36B4E5-34CF-4445-8D08-3FCDDEEDE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05818EE9-4FA4-48D2-9F5F-8D02FE20C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5110A61-23BB-4D65-92A9-DAB2CAD6D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BEDF7A0-5DF1-44B3-B7CB-946F46323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5.53890000000001</c:v>
                </c:pt>
                <c:pt idx="1">
                  <c:v>176.99930000000001</c:v>
                </c:pt>
                <c:pt idx="2">
                  <c:v>75.227500000000006</c:v>
                </c:pt>
              </c:numCache>
            </c:numRef>
          </c:xVal>
          <c:yVal>
            <c:numRef>
              <c:f>Sheet1!$B$2:$B$4</c:f>
              <c:numCache>
                <c:formatCode>General</c:formatCode>
                <c:ptCount val="3"/>
                <c:pt idx="0">
                  <c:v>1.145</c:v>
                </c:pt>
                <c:pt idx="1">
                  <c:v>1.121</c:v>
                </c:pt>
                <c:pt idx="2">
                  <c:v>0.57999999999999996</c:v>
                </c:pt>
              </c:numCache>
            </c:numRef>
          </c:yVal>
          <c:bubbleSize>
            <c:numRef>
              <c:f>Sheet1!$C$2:$C$4</c:f>
              <c:numCache>
                <c:formatCode>General</c:formatCode>
                <c:ptCount val="3"/>
                <c:pt idx="0">
                  <c:v>13487454</c:v>
                </c:pt>
                <c:pt idx="1">
                  <c:v>11637350</c:v>
                </c:pt>
                <c:pt idx="2">
                  <c:v>3710219</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DBC9FA-15A8-468C-901E-2531F4AB5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47AAD4-CE04-4676-A550-81A7CD910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7E480D-1759-4195-A642-D303EA62D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FC27CB-68C3-4A67-B78C-1EA0C005A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BAD3F4-E12F-4CC5-996F-09D90F01D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81C059-0DBD-45BA-9204-9B6052083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93C05C9-E0E9-484F-8814-CE93FE3B3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316EA7-8D95-472C-82F2-D9BA3612C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4.6602</c:v>
                </c:pt>
                <c:pt idx="1">
                  <c:v>198.59870000000001</c:v>
                </c:pt>
                <c:pt idx="2">
                  <c:v>192.91290000000001</c:v>
                </c:pt>
                <c:pt idx="3">
                  <c:v>87.215800000000002</c:v>
                </c:pt>
                <c:pt idx="4">
                  <c:v>74.168000000000006</c:v>
                </c:pt>
                <c:pt idx="5">
                  <c:v>220.01349999999999</c:v>
                </c:pt>
              </c:numCache>
            </c:numRef>
          </c:xVal>
          <c:yVal>
            <c:numRef>
              <c:f>Sheet1!$B$2:$B$7</c:f>
              <c:numCache>
                <c:formatCode>General</c:formatCode>
                <c:ptCount val="6"/>
                <c:pt idx="0">
                  <c:v>1.2749999999999999</c:v>
                </c:pt>
                <c:pt idx="1">
                  <c:v>0.85499999999999998</c:v>
                </c:pt>
                <c:pt idx="2">
                  <c:v>0.85899999999999999</c:v>
                </c:pt>
                <c:pt idx="3">
                  <c:v>0.47699999999999998</c:v>
                </c:pt>
                <c:pt idx="4">
                  <c:v>0.44600000000000001</c:v>
                </c:pt>
                <c:pt idx="5">
                  <c:v>3.0779999999999998</c:v>
                </c:pt>
              </c:numCache>
            </c:numRef>
          </c:yVal>
          <c:bubbleSize>
            <c:numRef>
              <c:f>Sheet1!$C$2:$C$7</c:f>
              <c:numCache>
                <c:formatCode>General</c:formatCode>
                <c:ptCount val="6"/>
                <c:pt idx="0">
                  <c:v>76877378</c:v>
                </c:pt>
                <c:pt idx="1">
                  <c:v>26121485</c:v>
                </c:pt>
                <c:pt idx="2">
                  <c:v>20488126</c:v>
                </c:pt>
                <c:pt idx="3">
                  <c:v>7108348</c:v>
                </c:pt>
                <c:pt idx="4">
                  <c:v>3174094</c:v>
                </c:pt>
                <c:pt idx="5">
                  <c:v>191719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4"/>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1848876-5439-45F7-8CA1-BFCEB4093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41F3781-91D5-4D4B-A5AD-B2F4E49D7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3F4B8E0-E2F1-481E-A444-9B9E0891B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02EA6B9-2CAC-43C2-A50C-730611186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43FDD92-3610-4515-BA9D-EB3350267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056BACC-7928-41D5-8BC0-972A3E651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2E0D6EE-8257-415B-B23E-D0374BDBB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9422CF9-2B28-4376-848F-F5DA221DD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2.87279999999998</c:v>
                </c:pt>
                <c:pt idx="1">
                  <c:v>544.99419999999998</c:v>
                </c:pt>
                <c:pt idx="2">
                  <c:v>292.4042</c:v>
                </c:pt>
                <c:pt idx="3">
                  <c:v>574.2405</c:v>
                </c:pt>
                <c:pt idx="4">
                  <c:v>521.06539999999995</c:v>
                </c:pt>
                <c:pt idx="5">
                  <c:v>613.47059999999999</c:v>
                </c:pt>
                <c:pt idx="6">
                  <c:v>493.8476</c:v>
                </c:pt>
                <c:pt idx="7">
                  <c:v>402.11619999999999</c:v>
                </c:pt>
              </c:numCache>
            </c:numRef>
          </c:xVal>
          <c:yVal>
            <c:numRef>
              <c:f>Sheet1!$B$2:$B$9</c:f>
              <c:numCache>
                <c:formatCode>General</c:formatCode>
                <c:ptCount val="8"/>
                <c:pt idx="0">
                  <c:v>1.2110000000000001</c:v>
                </c:pt>
                <c:pt idx="1">
                  <c:v>1.61</c:v>
                </c:pt>
                <c:pt idx="2">
                  <c:v>0.59499999999999997</c:v>
                </c:pt>
                <c:pt idx="3">
                  <c:v>1.413</c:v>
                </c:pt>
                <c:pt idx="4">
                  <c:v>1.1579999999999999</c:v>
                </c:pt>
                <c:pt idx="5">
                  <c:v>0.875</c:v>
                </c:pt>
                <c:pt idx="6">
                  <c:v>1.44</c:v>
                </c:pt>
                <c:pt idx="7">
                  <c:v>1.133</c:v>
                </c:pt>
              </c:numCache>
            </c:numRef>
          </c:yVal>
          <c:bubbleSize>
            <c:numRef>
              <c:f>Sheet1!$C$2:$C$9</c:f>
              <c:numCache>
                <c:formatCode>General</c:formatCode>
                <c:ptCount val="8"/>
                <c:pt idx="0">
                  <c:v>38563986</c:v>
                </c:pt>
                <c:pt idx="1">
                  <c:v>20599144</c:v>
                </c:pt>
                <c:pt idx="2">
                  <c:v>19050720</c:v>
                </c:pt>
                <c:pt idx="3">
                  <c:v>12851502</c:v>
                </c:pt>
                <c:pt idx="4">
                  <c:v>10428081</c:v>
                </c:pt>
                <c:pt idx="5">
                  <c:v>4896109</c:v>
                </c:pt>
                <c:pt idx="6">
                  <c:v>4599203</c:v>
                </c:pt>
                <c:pt idx="7">
                  <c:v>2910115</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Neutrogena</c:v>
                  </c:pt>
                  <c:pt idx="3">
                    <c:v>Eucerin</c:v>
                  </c:pt>
                  <c:pt idx="4">
                    <c:v>Avene</c:v>
                  </c:pt>
                  <c:pt idx="5">
                    <c:v>Vichy</c:v>
                  </c:pt>
                  <c:pt idx="6">
                    <c:v>Photoderm</c:v>
                  </c:pt>
                  <c:pt idx="7">
                    <c:v>Cetaphi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
          <c:min val="23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3B24C64-CD76-4235-9D5B-BFDD3ABDF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1169AA2-27F7-46B4-9D82-55BD33FA7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E750E39-E050-44F2-A3F8-9848E00BA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E9868D8F-EE6C-42E5-B26D-3A7BCEB6A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EA9628B-8B0C-44B5-8F96-F86C4ACBF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9C0E48F3-9A67-4B9D-8DF0-D24B60E3F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131B891-904B-48E5-9676-B25E3687B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8E59D46-18B7-4729-A1C7-3D44B250B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53809999999999</c:v>
                </c:pt>
                <c:pt idx="1">
                  <c:v>181.97620000000001</c:v>
                </c:pt>
                <c:pt idx="2">
                  <c:v>73.250200000000007</c:v>
                </c:pt>
              </c:numCache>
            </c:numRef>
          </c:xVal>
          <c:yVal>
            <c:numRef>
              <c:f>Sheet1!$B$2:$B$4</c:f>
              <c:numCache>
                <c:formatCode>General</c:formatCode>
                <c:ptCount val="3"/>
                <c:pt idx="0">
                  <c:v>1.1140000000000001</c:v>
                </c:pt>
                <c:pt idx="1">
                  <c:v>1.1020000000000001</c:v>
                </c:pt>
                <c:pt idx="2">
                  <c:v>0.627</c:v>
                </c:pt>
              </c:numCache>
            </c:numRef>
          </c:yVal>
          <c:bubbleSize>
            <c:numRef>
              <c:f>Sheet1!$C$2:$C$4</c:f>
              <c:numCache>
                <c:formatCode>General</c:formatCode>
                <c:ptCount val="3"/>
                <c:pt idx="0">
                  <c:v>10876777</c:v>
                </c:pt>
                <c:pt idx="1">
                  <c:v>6204479</c:v>
                </c:pt>
                <c:pt idx="2">
                  <c:v>2373891</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3"/>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466258-9213-4FA5-8EE2-09046F0DE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72879D-EA84-46B2-B360-65A0F5788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0903BB-A104-45B2-9145-476EB8E54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58FFA1-95A8-42C5-A709-43D595B45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ECDD40-C9F9-4533-B59C-FB61F6531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6D6964-EB4E-4107-8E32-C83AEED00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42C6E1F-D5BF-4F0B-9588-E09D4758C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A4C0BA6-D9FE-456F-BD94-BB794F2A0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1934</c:v>
                </c:pt>
                <c:pt idx="1">
                  <c:v>221.78880000000001</c:v>
                </c:pt>
                <c:pt idx="2">
                  <c:v>222.16919999999999</c:v>
                </c:pt>
                <c:pt idx="3">
                  <c:v>91.467699999999994</c:v>
                </c:pt>
                <c:pt idx="4">
                  <c:v>73.717100000000002</c:v>
                </c:pt>
                <c:pt idx="5">
                  <c:v>156.0933</c:v>
                </c:pt>
              </c:numCache>
            </c:numRef>
          </c:xVal>
          <c:yVal>
            <c:numRef>
              <c:f>Sheet1!$B$2:$B$7</c:f>
              <c:numCache>
                <c:formatCode>General</c:formatCode>
                <c:ptCount val="6"/>
                <c:pt idx="0">
                  <c:v>1.1859999999999999</c:v>
                </c:pt>
                <c:pt idx="1">
                  <c:v>0.90900000000000003</c:v>
                </c:pt>
                <c:pt idx="2">
                  <c:v>0.92300000000000004</c:v>
                </c:pt>
                <c:pt idx="3">
                  <c:v>0.496</c:v>
                </c:pt>
                <c:pt idx="4">
                  <c:v>0.46899999999999997</c:v>
                </c:pt>
                <c:pt idx="5">
                  <c:v>2.363</c:v>
                </c:pt>
              </c:numCache>
            </c:numRef>
          </c:yVal>
          <c:bubbleSize>
            <c:numRef>
              <c:f>Sheet1!$C$2:$C$7</c:f>
              <c:numCache>
                <c:formatCode>General</c:formatCode>
                <c:ptCount val="6"/>
                <c:pt idx="0">
                  <c:v>106919192</c:v>
                </c:pt>
                <c:pt idx="1">
                  <c:v>35460921</c:v>
                </c:pt>
                <c:pt idx="2">
                  <c:v>19002574</c:v>
                </c:pt>
                <c:pt idx="3">
                  <c:v>7573435</c:v>
                </c:pt>
                <c:pt idx="4">
                  <c:v>3202788</c:v>
                </c:pt>
                <c:pt idx="5">
                  <c:v>223447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09F3072-3EAA-4416-9E08-6B8757FC0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15DB770-EA64-4A05-990A-2029105E9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DA0C1F6-7CA3-4E1F-92EB-17DD53D8F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1F46C23-DC30-4691-8BB3-3B38158C3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C950250-A8E2-4243-8CF0-40AFDBE8D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882CC34-9D82-4D8D-9D79-2D29F8255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0E7F987-A7A6-4465-A86D-84AE7F77A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21621079-F6F1-482B-9F67-7F3817C0A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80.85379999999998</c:v>
                </c:pt>
                <c:pt idx="1">
                  <c:v>605.09690000000001</c:v>
                </c:pt>
                <c:pt idx="2">
                  <c:v>520.99090000000001</c:v>
                </c:pt>
                <c:pt idx="3">
                  <c:v>300.56389999999999</c:v>
                </c:pt>
                <c:pt idx="4">
                  <c:v>588.91219999999998</c:v>
                </c:pt>
                <c:pt idx="5">
                  <c:v>553.51400000000001</c:v>
                </c:pt>
                <c:pt idx="6">
                  <c:v>386.5265</c:v>
                </c:pt>
              </c:numCache>
            </c:numRef>
          </c:xVal>
          <c:yVal>
            <c:numRef>
              <c:f>Sheet1!$B$2:$B$8</c:f>
              <c:numCache>
                <c:formatCode>General</c:formatCode>
                <c:ptCount val="7"/>
                <c:pt idx="0">
                  <c:v>0.88600000000000001</c:v>
                </c:pt>
                <c:pt idx="1">
                  <c:v>2.1419999999999999</c:v>
                </c:pt>
                <c:pt idx="2">
                  <c:v>2.415</c:v>
                </c:pt>
                <c:pt idx="3">
                  <c:v>1.099</c:v>
                </c:pt>
                <c:pt idx="4">
                  <c:v>2.056</c:v>
                </c:pt>
                <c:pt idx="5">
                  <c:v>11.252000000000001</c:v>
                </c:pt>
                <c:pt idx="6">
                  <c:v>4.6230000000000002</c:v>
                </c:pt>
              </c:numCache>
            </c:numRef>
          </c:yVal>
          <c:bubbleSize>
            <c:numRef>
              <c:f>Sheet1!$C$2:$C$8</c:f>
              <c:numCache>
                <c:formatCode>General</c:formatCode>
                <c:ptCount val="7"/>
                <c:pt idx="0">
                  <c:v>12857206</c:v>
                </c:pt>
                <c:pt idx="1">
                  <c:v>3786091</c:v>
                </c:pt>
                <c:pt idx="2">
                  <c:v>2173053</c:v>
                </c:pt>
                <c:pt idx="3">
                  <c:v>1656708</c:v>
                </c:pt>
                <c:pt idx="4">
                  <c:v>1072998</c:v>
                </c:pt>
                <c:pt idx="5">
                  <c:v>792632</c:v>
                </c:pt>
                <c:pt idx="6">
                  <c:v>444119</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Eucerin</c:v>
                  </c:pt>
                  <c:pt idx="3">
                    <c:v>Eclipsol</c:v>
                  </c:pt>
                  <c:pt idx="4">
                    <c:v>Avene</c:v>
                  </c:pt>
                  <c:pt idx="5">
                    <c:v>La Roche-Posay</c:v>
                  </c:pt>
                  <c:pt idx="6">
                    <c:v>Cetaphi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2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35F1432-AEB0-4E77-AB45-8468CD67F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3FE05A4-472D-49B8-A9A4-6729323F4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E0C7B1E-312E-4C40-81C2-116FFAD25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AC6E90D-4633-4420-8255-BE8CF9D1C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ED213E3-7E91-4840-9B87-12567AA2C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08CF0AC-BE8B-4187-B920-CBDEFDF22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88D89F2-5BE5-46F4-B7E1-CD53E46D5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6D4E8FE-50EB-4261-89B3-AD87F1122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1.62649999999999</c:v>
                </c:pt>
                <c:pt idx="1">
                  <c:v>220.4366</c:v>
                </c:pt>
                <c:pt idx="2">
                  <c:v>77.320999999999998</c:v>
                </c:pt>
                <c:pt idx="3">
                  <c:v>333.80770000000001</c:v>
                </c:pt>
              </c:numCache>
            </c:numRef>
          </c:xVal>
          <c:yVal>
            <c:numRef>
              <c:f>Sheet1!$B$2:$B$5</c:f>
              <c:numCache>
                <c:formatCode>General</c:formatCode>
                <c:ptCount val="4"/>
                <c:pt idx="0">
                  <c:v>1.1080000000000001</c:v>
                </c:pt>
                <c:pt idx="1">
                  <c:v>1.0429999999999999</c:v>
                </c:pt>
                <c:pt idx="2">
                  <c:v>0.61</c:v>
                </c:pt>
                <c:pt idx="3">
                  <c:v>1.7150000000000001</c:v>
                </c:pt>
              </c:numCache>
            </c:numRef>
          </c:yVal>
          <c:bubbleSize>
            <c:numRef>
              <c:f>Sheet1!$C$2:$C$5</c:f>
              <c:numCache>
                <c:formatCode>General</c:formatCode>
                <c:ptCount val="4"/>
                <c:pt idx="0">
                  <c:v>14829826</c:v>
                </c:pt>
                <c:pt idx="1">
                  <c:v>10425110</c:v>
                </c:pt>
                <c:pt idx="2">
                  <c:v>2580898</c:v>
                </c:pt>
                <c:pt idx="3">
                  <c:v>609199</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pt idx="3">
                    <c:v>Australian Gold</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1"/>
          <c:min val="6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555D7D-BC22-4CAF-BF1C-5B2EB4AC3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7250B2-CE8C-42D4-A8ED-B932B854E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1D94AA-B90B-422B-8376-C6CB536A9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3AC3D8-A0D4-4C7F-A7C7-03C4F8957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6408FC-3ACF-4C4E-BF1F-87B466168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319B50-182F-4372-AAB1-1A73471D2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14C34C9-FA3C-487D-8F05-35AEB13F9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95AA766-7F46-4DB5-AAC9-4EB31206F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63650000000001</c:v>
                </c:pt>
                <c:pt idx="1">
                  <c:v>213.0857</c:v>
                </c:pt>
                <c:pt idx="2">
                  <c:v>219.74940000000001</c:v>
                </c:pt>
                <c:pt idx="3">
                  <c:v>89.713499999999996</c:v>
                </c:pt>
                <c:pt idx="4">
                  <c:v>74.441800000000001</c:v>
                </c:pt>
                <c:pt idx="5">
                  <c:v>214.86019999999999</c:v>
                </c:pt>
              </c:numCache>
            </c:numRef>
          </c:xVal>
          <c:yVal>
            <c:numRef>
              <c:f>Sheet1!$B$2:$B$7</c:f>
              <c:numCache>
                <c:formatCode>General</c:formatCode>
                <c:ptCount val="6"/>
                <c:pt idx="0">
                  <c:v>1.24</c:v>
                </c:pt>
                <c:pt idx="1">
                  <c:v>0.90600000000000003</c:v>
                </c:pt>
                <c:pt idx="2">
                  <c:v>0.88100000000000001</c:v>
                </c:pt>
                <c:pt idx="3">
                  <c:v>0.53</c:v>
                </c:pt>
                <c:pt idx="4">
                  <c:v>0.46800000000000003</c:v>
                </c:pt>
                <c:pt idx="5">
                  <c:v>3.1869999999999998</c:v>
                </c:pt>
              </c:numCache>
            </c:numRef>
          </c:yVal>
          <c:bubbleSize>
            <c:numRef>
              <c:f>Sheet1!$C$2:$C$7</c:f>
              <c:numCache>
                <c:formatCode>General</c:formatCode>
                <c:ptCount val="6"/>
                <c:pt idx="0">
                  <c:v>88331422</c:v>
                </c:pt>
                <c:pt idx="1">
                  <c:v>31006308</c:v>
                </c:pt>
                <c:pt idx="2">
                  <c:v>19425192</c:v>
                </c:pt>
                <c:pt idx="3">
                  <c:v>9096325</c:v>
                </c:pt>
                <c:pt idx="4">
                  <c:v>4963182</c:v>
                </c:pt>
                <c:pt idx="5">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C6695B-6374-4F63-8EAB-68A557793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458824-D6CE-4DCC-A6B5-DD0A9DCE6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93F70C-6E5D-4ED2-A941-7E77CF752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DB9D0B-8063-48B9-BE8E-0911AA52A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E68664-983D-4416-81FB-2BC0F7F87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081617-AD4B-404C-B7C8-B30E20EA6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09CE36-91D0-4936-B5BD-527A5E9B9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75EA87-381D-4F7D-B994-4E6B4AD6E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4718</c:v>
                </c:pt>
                <c:pt idx="1">
                  <c:v>218.8167</c:v>
                </c:pt>
                <c:pt idx="2">
                  <c:v>240.5857</c:v>
                </c:pt>
                <c:pt idx="3">
                  <c:v>294.82420000000002</c:v>
                </c:pt>
                <c:pt idx="4">
                  <c:v>600.36440000000005</c:v>
                </c:pt>
                <c:pt idx="5">
                  <c:v>80.753900000000002</c:v>
                </c:pt>
                <c:pt idx="6">
                  <c:v>556.37180000000001</c:v>
                </c:pt>
                <c:pt idx="7">
                  <c:v>222.31460000000001</c:v>
                </c:pt>
              </c:numCache>
            </c:numRef>
          </c:xVal>
          <c:yVal>
            <c:numRef>
              <c:f>Sheet1!$B$2:$B$9</c:f>
              <c:numCache>
                <c:formatCode>General</c:formatCode>
                <c:ptCount val="8"/>
                <c:pt idx="0">
                  <c:v>1.101</c:v>
                </c:pt>
                <c:pt idx="1">
                  <c:v>0.80100000000000005</c:v>
                </c:pt>
                <c:pt idx="2">
                  <c:v>0.80400000000000005</c:v>
                </c:pt>
                <c:pt idx="3">
                  <c:v>2.2069999999999999</c:v>
                </c:pt>
                <c:pt idx="4">
                  <c:v>4.5579999999999998</c:v>
                </c:pt>
                <c:pt idx="5">
                  <c:v>0.434</c:v>
                </c:pt>
                <c:pt idx="6">
                  <c:v>8.0820000000000007</c:v>
                </c:pt>
                <c:pt idx="7">
                  <c:v>2.8439999999999999</c:v>
                </c:pt>
              </c:numCache>
            </c:numRef>
          </c:yVal>
          <c:bubbleSize>
            <c:numRef>
              <c:f>Sheet1!$C$2:$C$9</c:f>
              <c:numCache>
                <c:formatCode>General</c:formatCode>
                <c:ptCount val="8"/>
                <c:pt idx="0">
                  <c:v>70722047</c:v>
                </c:pt>
                <c:pt idx="1">
                  <c:v>34560135</c:v>
                </c:pt>
                <c:pt idx="2">
                  <c:v>31515279</c:v>
                </c:pt>
                <c:pt idx="3">
                  <c:v>9333249</c:v>
                </c:pt>
                <c:pt idx="4">
                  <c:v>5824135</c:v>
                </c:pt>
                <c:pt idx="5">
                  <c:v>5525749</c:v>
                </c:pt>
                <c:pt idx="6">
                  <c:v>3208596</c:v>
                </c:pt>
                <c:pt idx="7">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6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515E8DB-8BC5-4114-B101-35C03A4FE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86FF50B-EFB4-4D7A-8834-CC1FC029A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5E0A1E5-1F99-448F-83EE-0EFC91CC9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9DD6BDE-F77B-4F6E-A368-296745A47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3FF7E7D-F486-44F6-8351-C591F69AB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2A83A89-A498-44EB-BAA6-719CB53E7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7E01E0B-FD36-4110-807C-A22440EBE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B76DAB5-8006-401E-A033-DE5866C6F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0.55079999999998</c:v>
                </c:pt>
                <c:pt idx="1">
                  <c:v>289.0043</c:v>
                </c:pt>
                <c:pt idx="2">
                  <c:v>592.2799</c:v>
                </c:pt>
                <c:pt idx="3">
                  <c:v>586.80870000000004</c:v>
                </c:pt>
                <c:pt idx="4">
                  <c:v>555.48559999999998</c:v>
                </c:pt>
                <c:pt idx="5">
                  <c:v>322.97570000000002</c:v>
                </c:pt>
                <c:pt idx="6">
                  <c:v>599.99940000000004</c:v>
                </c:pt>
                <c:pt idx="7">
                  <c:v>692.61900000000003</c:v>
                </c:pt>
              </c:numCache>
            </c:numRef>
          </c:xVal>
          <c:yVal>
            <c:numRef>
              <c:f>Sheet1!$B$2:$B$9</c:f>
              <c:numCache>
                <c:formatCode>General</c:formatCode>
                <c:ptCount val="8"/>
                <c:pt idx="0">
                  <c:v>1.3460000000000001</c:v>
                </c:pt>
                <c:pt idx="1">
                  <c:v>0.67</c:v>
                </c:pt>
                <c:pt idx="2">
                  <c:v>1.7170000000000001</c:v>
                </c:pt>
                <c:pt idx="3">
                  <c:v>2.2839999999999998</c:v>
                </c:pt>
                <c:pt idx="4">
                  <c:v>1.4890000000000001</c:v>
                </c:pt>
                <c:pt idx="5">
                  <c:v>0.81499999999999995</c:v>
                </c:pt>
                <c:pt idx="6">
                  <c:v>2.1669999999999998</c:v>
                </c:pt>
                <c:pt idx="7">
                  <c:v>1.3340000000000001</c:v>
                </c:pt>
              </c:numCache>
            </c:numRef>
          </c:yVal>
          <c:bubbleSize>
            <c:numRef>
              <c:f>Sheet1!$C$2:$C$9</c:f>
              <c:numCache>
                <c:formatCode>General</c:formatCode>
                <c:ptCount val="8"/>
                <c:pt idx="0">
                  <c:v>17830499</c:v>
                </c:pt>
                <c:pt idx="1">
                  <c:v>15832523</c:v>
                </c:pt>
                <c:pt idx="2">
                  <c:v>6878146</c:v>
                </c:pt>
                <c:pt idx="3">
                  <c:v>6449028</c:v>
                </c:pt>
                <c:pt idx="4">
                  <c:v>3533444</c:v>
                </c:pt>
                <c:pt idx="5">
                  <c:v>2700077</c:v>
                </c:pt>
                <c:pt idx="6">
                  <c:v>1855198</c:v>
                </c:pt>
                <c:pt idx="7">
                  <c:v>1681679</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Eucerin</c:v>
                  </c:pt>
                  <c:pt idx="3">
                    <c:v>La Roche-Posay</c:v>
                  </c:pt>
                  <c:pt idx="4">
                    <c:v>Avene</c:v>
                  </c:pt>
                  <c:pt idx="5">
                    <c:v>Eclipsol</c:v>
                  </c:pt>
                  <c:pt idx="6">
                    <c:v>Photoderm</c:v>
                  </c:pt>
                  <c:pt idx="7">
                    <c:v>Vich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1"/>
          <c:min val="2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5D2ED64-C4FD-42B8-AEF5-8AE4DE7CD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9141FC5-3D48-4FFE-9931-897119FD5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D53E2F7-CFBA-47A8-B746-7B972727C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BA9E2019-E78E-4127-9962-64882BD9C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66295E4-F6D9-4495-B1A5-8B6E5794C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89FDC50D-CF6F-4DF2-A324-F0F248606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BC8A0FB-8397-4EBE-AA78-6BA744D9F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00CA3BDD-CAD3-4F8F-8868-122FCCE73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7.36590000000001</c:v>
                </c:pt>
                <c:pt idx="1">
                  <c:v>202.6541</c:v>
                </c:pt>
                <c:pt idx="2">
                  <c:v>74.376300000000001</c:v>
                </c:pt>
              </c:numCache>
            </c:numRef>
          </c:xVal>
          <c:yVal>
            <c:numRef>
              <c:f>Sheet1!$B$2:$B$4</c:f>
              <c:numCache>
                <c:formatCode>General</c:formatCode>
                <c:ptCount val="3"/>
                <c:pt idx="0">
                  <c:v>1.1439999999999999</c:v>
                </c:pt>
                <c:pt idx="1">
                  <c:v>1.1120000000000001</c:v>
                </c:pt>
                <c:pt idx="2">
                  <c:v>0.63</c:v>
                </c:pt>
              </c:numCache>
            </c:numRef>
          </c:yVal>
          <c:bubbleSize>
            <c:numRef>
              <c:f>Sheet1!$C$2:$C$4</c:f>
              <c:numCache>
                <c:formatCode>General</c:formatCode>
                <c:ptCount val="3"/>
                <c:pt idx="0">
                  <c:v>11537145</c:v>
                </c:pt>
                <c:pt idx="1">
                  <c:v>7694775</c:v>
                </c:pt>
                <c:pt idx="2">
                  <c:v>3365824</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1228EA-97FC-4A24-9D35-A51F61E02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C442F9-D64A-4CC0-AF60-FA202E40A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57C818-3A4D-4A68-967C-5DAE5E328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4A83C1-7DFC-4342-A846-3F7078E94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8AE989-A2AE-4EFF-BC41-20427297C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FFFCD6-EE64-47B2-8D0B-4228538FD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8D19FC-3232-4826-94FD-C9FF6081E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6F462D-FFF1-4100-8D84-A5E34BE03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6.5461</c:v>
                </c:pt>
                <c:pt idx="1">
                  <c:v>218.12209999999999</c:v>
                </c:pt>
                <c:pt idx="2">
                  <c:v>231.68799999999999</c:v>
                </c:pt>
                <c:pt idx="3">
                  <c:v>89.617099999999994</c:v>
                </c:pt>
                <c:pt idx="4">
                  <c:v>74.820400000000006</c:v>
                </c:pt>
                <c:pt idx="5">
                  <c:v>221.1781</c:v>
                </c:pt>
              </c:numCache>
            </c:numRef>
          </c:xVal>
          <c:yVal>
            <c:numRef>
              <c:f>Sheet1!$B$2:$B$7</c:f>
              <c:numCache>
                <c:formatCode>General</c:formatCode>
                <c:ptCount val="6"/>
                <c:pt idx="0">
                  <c:v>1.264</c:v>
                </c:pt>
                <c:pt idx="1">
                  <c:v>0.94099999999999995</c:v>
                </c:pt>
                <c:pt idx="2">
                  <c:v>0.93100000000000005</c:v>
                </c:pt>
                <c:pt idx="3">
                  <c:v>0.49399999999999999</c:v>
                </c:pt>
                <c:pt idx="4">
                  <c:v>0.46600000000000003</c:v>
                </c:pt>
                <c:pt idx="5">
                  <c:v>3.2280000000000002</c:v>
                </c:pt>
              </c:numCache>
            </c:numRef>
          </c:yVal>
          <c:bubbleSize>
            <c:numRef>
              <c:f>Sheet1!$C$2:$C$7</c:f>
              <c:numCache>
                <c:formatCode>General</c:formatCode>
                <c:ptCount val="6"/>
                <c:pt idx="0">
                  <c:v>71214845</c:v>
                </c:pt>
                <c:pt idx="1">
                  <c:v>34650228</c:v>
                </c:pt>
                <c:pt idx="2">
                  <c:v>23619901</c:v>
                </c:pt>
                <c:pt idx="3">
                  <c:v>8454656</c:v>
                </c:pt>
                <c:pt idx="4">
                  <c:v>4294539</c:v>
                </c:pt>
                <c:pt idx="5">
                  <c:v>195145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98BAAC2-3FC2-4857-9AB2-E119240E3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B0B60B3-48D2-438E-89C1-E85355B70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7A554B5-2455-4CD4-9995-F234734F3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2D5369A-86CD-4CBE-A58C-8F615BDBE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4D5E8C3-1316-42B3-A8B2-23283D6A5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5ECE70E-718D-4EE1-B1FD-DEFCFC755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1849137-9F7F-4EBD-AC26-1C487F1B0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768C889-42FA-4C24-BD31-533651D78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699999999998</c:v>
                </c:pt>
                <c:pt idx="1">
                  <c:v>296.70359999999999</c:v>
                </c:pt>
                <c:pt idx="2">
                  <c:v>577.61429999999996</c:v>
                </c:pt>
                <c:pt idx="3">
                  <c:v>583.74170000000004</c:v>
                </c:pt>
                <c:pt idx="4">
                  <c:v>541.65340000000003</c:v>
                </c:pt>
                <c:pt idx="5">
                  <c:v>569.41949999999997</c:v>
                </c:pt>
                <c:pt idx="6">
                  <c:v>328.01260000000002</c:v>
                </c:pt>
                <c:pt idx="7">
                  <c:v>675.12199999999996</c:v>
                </c:pt>
              </c:numCache>
            </c:numRef>
          </c:xVal>
          <c:yVal>
            <c:numRef>
              <c:f>Sheet1!$B$2:$B$9</c:f>
              <c:numCache>
                <c:formatCode>General</c:formatCode>
                <c:ptCount val="8"/>
                <c:pt idx="0">
                  <c:v>1.319</c:v>
                </c:pt>
                <c:pt idx="1">
                  <c:v>0.72099999999999997</c:v>
                </c:pt>
                <c:pt idx="2">
                  <c:v>2.1230000000000002</c:v>
                </c:pt>
                <c:pt idx="3">
                  <c:v>1.653</c:v>
                </c:pt>
                <c:pt idx="4">
                  <c:v>1.4970000000000001</c:v>
                </c:pt>
                <c:pt idx="5">
                  <c:v>1.956</c:v>
                </c:pt>
                <c:pt idx="6">
                  <c:v>0.87</c:v>
                </c:pt>
                <c:pt idx="7">
                  <c:v>1.2030000000000001</c:v>
                </c:pt>
              </c:numCache>
            </c:numRef>
          </c:yVal>
          <c:bubbleSize>
            <c:numRef>
              <c:f>Sheet1!$C$2:$C$9</c:f>
              <c:numCache>
                <c:formatCode>General</c:formatCode>
                <c:ptCount val="8"/>
                <c:pt idx="0">
                  <c:v>16648350</c:v>
                </c:pt>
                <c:pt idx="1">
                  <c:v>15085897</c:v>
                </c:pt>
                <c:pt idx="2">
                  <c:v>6503359</c:v>
                </c:pt>
                <c:pt idx="3">
                  <c:v>5453315</c:v>
                </c:pt>
                <c:pt idx="4">
                  <c:v>3844114</c:v>
                </c:pt>
                <c:pt idx="5">
                  <c:v>2465017</c:v>
                </c:pt>
                <c:pt idx="6">
                  <c:v>1769628</c:v>
                </c:pt>
                <c:pt idx="7">
                  <c:v>1732363</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La Roche-Posay</c:v>
                  </c:pt>
                  <c:pt idx="3">
                    <c:v>Eucerin</c:v>
                  </c:pt>
                  <c:pt idx="4">
                    <c:v>Avene</c:v>
                  </c:pt>
                  <c:pt idx="5">
                    <c:v>Photoderm</c:v>
                  </c:pt>
                  <c:pt idx="6">
                    <c:v>Eclipsol</c:v>
                  </c:pt>
                  <c:pt idx="7">
                    <c:v>Vich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23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DBBC609-8BDE-456D-B256-A330D0C32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2944983-A379-4C59-81FA-D77FA39F7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84762B8-B9F9-4C9B-8146-4A10B9DC9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EE6DE81F-1AFC-4107-A4C7-A0834BCA4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33035F0-6B65-40DE-BE4E-6B38324DD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4373952-1463-4A0A-AD3A-187C7FF11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CF9C820-D78B-4D0D-B506-5B0F5BC5B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C4EDD4D-135A-4CF7-8221-045B9937E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2.45370000000003</c:v>
                </c:pt>
                <c:pt idx="1">
                  <c:v>211.64160000000001</c:v>
                </c:pt>
                <c:pt idx="2">
                  <c:v>76.601600000000005</c:v>
                </c:pt>
              </c:numCache>
            </c:numRef>
          </c:xVal>
          <c:yVal>
            <c:numRef>
              <c:f>Sheet1!$B$2:$B$4</c:f>
              <c:numCache>
                <c:formatCode>General</c:formatCode>
                <c:ptCount val="3"/>
                <c:pt idx="0">
                  <c:v>1.1479999999999999</c:v>
                </c:pt>
                <c:pt idx="1">
                  <c:v>1.0649999999999999</c:v>
                </c:pt>
                <c:pt idx="2">
                  <c:v>0.57299999999999995</c:v>
                </c:pt>
              </c:numCache>
            </c:numRef>
          </c:yVal>
          <c:bubbleSize>
            <c:numRef>
              <c:f>Sheet1!$C$2:$C$4</c:f>
              <c:numCache>
                <c:formatCode>General</c:formatCode>
                <c:ptCount val="3"/>
                <c:pt idx="0">
                  <c:v>15635682</c:v>
                </c:pt>
                <c:pt idx="1">
                  <c:v>8965349</c:v>
                </c:pt>
                <c:pt idx="2">
                  <c:v>2911242</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6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86F6D8-361F-40AF-BCEE-E71F30062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C3E4D3-AD0A-44C5-982B-4EE55743E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45C20D-6DAB-4981-83CC-728B03127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DBC4BA-3B25-4DB3-9A0E-C270BA153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C508A0-1139-43DF-A9E4-B1352C6A7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28517A-05C2-42E5-99E5-BE266526B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B27E393-D975-45CF-8A58-81C347909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074B58-687A-4AAA-B817-A96824AA6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51070000000001</c:v>
                </c:pt>
                <c:pt idx="1">
                  <c:v>221.86279999999999</c:v>
                </c:pt>
                <c:pt idx="2">
                  <c:v>232.25049999999999</c:v>
                </c:pt>
                <c:pt idx="3">
                  <c:v>85.391199999999998</c:v>
                </c:pt>
                <c:pt idx="4">
                  <c:v>73.085599999999999</c:v>
                </c:pt>
                <c:pt idx="5">
                  <c:v>222.31460000000001</c:v>
                </c:pt>
              </c:numCache>
            </c:numRef>
          </c:xVal>
          <c:yVal>
            <c:numRef>
              <c:f>Sheet1!$B$2:$B$7</c:f>
              <c:numCache>
                <c:formatCode>General</c:formatCode>
                <c:ptCount val="6"/>
                <c:pt idx="0">
                  <c:v>1.19</c:v>
                </c:pt>
                <c:pt idx="1">
                  <c:v>0.88300000000000001</c:v>
                </c:pt>
                <c:pt idx="2">
                  <c:v>0.89900000000000002</c:v>
                </c:pt>
                <c:pt idx="3">
                  <c:v>0.47199999999999998</c:v>
                </c:pt>
                <c:pt idx="4">
                  <c:v>0.42599999999999999</c:v>
                </c:pt>
                <c:pt idx="5">
                  <c:v>3.0070000000000001</c:v>
                </c:pt>
              </c:numCache>
            </c:numRef>
          </c:yVal>
          <c:bubbleSize>
            <c:numRef>
              <c:f>Sheet1!$C$2:$C$7</c:f>
              <c:numCache>
                <c:formatCode>General</c:formatCode>
                <c:ptCount val="6"/>
                <c:pt idx="0">
                  <c:v>68815552</c:v>
                </c:pt>
                <c:pt idx="1">
                  <c:v>25554382</c:v>
                </c:pt>
                <c:pt idx="2">
                  <c:v>16630064</c:v>
                </c:pt>
                <c:pt idx="3">
                  <c:v>4259142</c:v>
                </c:pt>
                <c:pt idx="4">
                  <c:v>1528440</c:v>
                </c:pt>
                <c:pt idx="5">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5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C2B3308-693D-415A-8B95-11AD6C632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3C5CD98-CDE0-49B8-8F5C-ED1518C93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ABF32B8-1909-4370-8C13-E8F25C7AF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DE4BEFB-57D6-43B8-B8E4-60E027191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A5981A6-1E0E-499A-933D-85F52928A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A85E5A2-3F45-4C90-A487-7EE83F218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138DA68-8785-49F6-AD18-E4437CD51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6370860-5318-4879-A36C-901470629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4.39339999999999</c:v>
                </c:pt>
                <c:pt idx="1">
                  <c:v>600.36440000000005</c:v>
                </c:pt>
                <c:pt idx="2">
                  <c:v>559.72159999999997</c:v>
                </c:pt>
                <c:pt idx="3">
                  <c:v>601.63699999999994</c:v>
                </c:pt>
                <c:pt idx="4">
                  <c:v>322.10379999999998</c:v>
                </c:pt>
                <c:pt idx="5">
                  <c:v>564.92899999999997</c:v>
                </c:pt>
                <c:pt idx="6">
                  <c:v>725.88959999999997</c:v>
                </c:pt>
                <c:pt idx="7">
                  <c:v>519.03300000000002</c:v>
                </c:pt>
              </c:numCache>
            </c:numRef>
          </c:xVal>
          <c:yVal>
            <c:numRef>
              <c:f>Sheet1!$B$2:$B$9</c:f>
              <c:numCache>
                <c:formatCode>General</c:formatCode>
                <c:ptCount val="8"/>
                <c:pt idx="0">
                  <c:v>0.81200000000000006</c:v>
                </c:pt>
                <c:pt idx="1">
                  <c:v>1.7070000000000001</c:v>
                </c:pt>
                <c:pt idx="2">
                  <c:v>2.9929999999999999</c:v>
                </c:pt>
                <c:pt idx="3">
                  <c:v>2.2290000000000001</c:v>
                </c:pt>
                <c:pt idx="4">
                  <c:v>1.038</c:v>
                </c:pt>
                <c:pt idx="5">
                  <c:v>2.0030000000000001</c:v>
                </c:pt>
                <c:pt idx="6">
                  <c:v>1.708</c:v>
                </c:pt>
                <c:pt idx="7">
                  <c:v>2.0790000000000002</c:v>
                </c:pt>
              </c:numCache>
            </c:numRef>
          </c:yVal>
          <c:bubbleSize>
            <c:numRef>
              <c:f>Sheet1!$C$2:$C$9</c:f>
              <c:numCache>
                <c:formatCode>General</c:formatCode>
                <c:ptCount val="8"/>
                <c:pt idx="0">
                  <c:v>9055836</c:v>
                </c:pt>
                <c:pt idx="1">
                  <c:v>5824135</c:v>
                </c:pt>
                <c:pt idx="2">
                  <c:v>3172502</c:v>
                </c:pt>
                <c:pt idx="3">
                  <c:v>2633967</c:v>
                </c:pt>
                <c:pt idx="4">
                  <c:v>1150877</c:v>
                </c:pt>
                <c:pt idx="5">
                  <c:v>1106131</c:v>
                </c:pt>
                <c:pt idx="6">
                  <c:v>762910</c:v>
                </c:pt>
                <c:pt idx="7">
                  <c:v>692390</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La Roche-Posay</c:v>
                  </c:pt>
                  <c:pt idx="3">
                    <c:v>Eucerin</c:v>
                  </c:pt>
                  <c:pt idx="4">
                    <c:v>Eclipsol</c:v>
                  </c:pt>
                  <c:pt idx="5">
                    <c:v>Avene</c:v>
                  </c:pt>
                  <c:pt idx="6">
                    <c:v>Vichy</c:v>
                  </c:pt>
                  <c:pt idx="7">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23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37E1F12-FB51-4C06-98C2-AFE4E3FAB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275C2F4-1BEB-4789-A453-F401D9B0A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E6D3B25-947D-4D58-AAA0-1C8FEF8AF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2CD397C-2D71-465C-9876-426356B37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768F46FB-9A36-46AE-8B12-ED199B506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D4614D5-DDAD-46F6-B424-0F8D85CD4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3E3F0B5-1B90-4791-BDBD-76C5D9297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FA4CD9C-B836-41C2-AF9A-0C0E1C95C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7.48809999999997</c:v>
                </c:pt>
                <c:pt idx="1">
                  <c:v>208.13399999999999</c:v>
                </c:pt>
                <c:pt idx="2">
                  <c:v>68.659700000000001</c:v>
                </c:pt>
              </c:numCache>
            </c:numRef>
          </c:xVal>
          <c:yVal>
            <c:numRef>
              <c:f>Sheet1!$B$2:$B$4</c:f>
              <c:numCache>
                <c:formatCode>General</c:formatCode>
                <c:ptCount val="3"/>
                <c:pt idx="0">
                  <c:v>1.113</c:v>
                </c:pt>
                <c:pt idx="1">
                  <c:v>1.02</c:v>
                </c:pt>
                <c:pt idx="2">
                  <c:v>0.52200000000000002</c:v>
                </c:pt>
              </c:numCache>
            </c:numRef>
          </c:yVal>
          <c:bubbleSize>
            <c:numRef>
              <c:f>Sheet1!$C$2:$C$4</c:f>
              <c:numCache>
                <c:formatCode>General</c:formatCode>
                <c:ptCount val="3"/>
                <c:pt idx="0">
                  <c:v>13521524</c:v>
                </c:pt>
                <c:pt idx="1">
                  <c:v>6122471</c:v>
                </c:pt>
                <c:pt idx="2">
                  <c:v>1247958</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1"/>
          <c:min val="5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4969C6-7E95-4C40-8FA1-33DE1F1DA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E6201A-C15B-4D8F-984C-F98A89143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FB7A1C-AFDC-4FCD-93BC-708B86528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2D1200-78C5-4DEB-B54E-EA53D4F49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AFD0A9-DFD6-4693-8229-1245EE40F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19463E-1DDB-4937-83AA-10F7B86DE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9D88EB-8FC5-4C25-B500-87966C1DD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1D9CAF-2FB0-4622-8C87-0BDBFDAE8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8.31790000000001</c:v>
                </c:pt>
                <c:pt idx="1">
                  <c:v>290.39980000000003</c:v>
                </c:pt>
                <c:pt idx="2">
                  <c:v>239.05459999999999</c:v>
                </c:pt>
                <c:pt idx="3">
                  <c:v>239.31800000000001</c:v>
                </c:pt>
                <c:pt idx="4">
                  <c:v>84.7851</c:v>
                </c:pt>
                <c:pt idx="5">
                  <c:v>583.22159999999997</c:v>
                </c:pt>
                <c:pt idx="6">
                  <c:v>74.360500000000002</c:v>
                </c:pt>
                <c:pt idx="7">
                  <c:v>608.14589999999998</c:v>
                </c:pt>
              </c:numCache>
            </c:numRef>
          </c:xVal>
          <c:yVal>
            <c:numRef>
              <c:f>Sheet1!$B$2:$B$9</c:f>
              <c:numCache>
                <c:formatCode>General</c:formatCode>
                <c:ptCount val="8"/>
                <c:pt idx="0">
                  <c:v>1.3540000000000001</c:v>
                </c:pt>
                <c:pt idx="1">
                  <c:v>1.986</c:v>
                </c:pt>
                <c:pt idx="2">
                  <c:v>0.72199999999999998</c:v>
                </c:pt>
                <c:pt idx="3">
                  <c:v>0.65900000000000003</c:v>
                </c:pt>
                <c:pt idx="4">
                  <c:v>0.41299999999999998</c:v>
                </c:pt>
                <c:pt idx="5">
                  <c:v>7.76</c:v>
                </c:pt>
                <c:pt idx="6">
                  <c:v>0.38700000000000001</c:v>
                </c:pt>
                <c:pt idx="7">
                  <c:v>4.8440000000000003</c:v>
                </c:pt>
              </c:numCache>
            </c:numRef>
          </c:yVal>
          <c:bubbleSize>
            <c:numRef>
              <c:f>Sheet1!$C$2:$C$9</c:f>
              <c:numCache>
                <c:formatCode>General</c:formatCode>
                <c:ptCount val="8"/>
                <c:pt idx="0">
                  <c:v>220806067</c:v>
                </c:pt>
                <c:pt idx="1">
                  <c:v>99185766</c:v>
                </c:pt>
                <c:pt idx="2">
                  <c:v>75019886</c:v>
                </c:pt>
                <c:pt idx="3">
                  <c:v>66004370</c:v>
                </c:pt>
                <c:pt idx="4">
                  <c:v>61986804</c:v>
                </c:pt>
                <c:pt idx="5">
                  <c:v>54751094</c:v>
                </c:pt>
                <c:pt idx="6">
                  <c:v>23746346</c:v>
                </c:pt>
                <c:pt idx="7">
                  <c:v>15813619</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Caribbean Beach</c:v>
                  </c:pt>
                  <c:pt idx="5">
                    <c:v>Isdin</c:v>
                  </c:pt>
                  <c:pt idx="6">
                    <c:v>Nuvel</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5250A9A-BC47-4E1E-8D0A-B19417435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7E359B8-32CE-4457-93CE-871DD74E5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89CC322-3331-454C-801E-D265E9AA6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8715E1D-B3FD-4689-BBBC-FBC8AA6C4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E939B7DC-C7AE-4F5F-A467-2B0CFAAF5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51EB5EBB-9ABA-4C8C-AD84-4FE4CCDE2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536AD660-E521-4F3E-8F29-263ECE1BF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21B602FA-2298-4652-96FC-E2612618E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6.2193</c:v>
                </c:pt>
                <c:pt idx="1">
                  <c:v>184.5881</c:v>
                </c:pt>
                <c:pt idx="2">
                  <c:v>153.47550000000001</c:v>
                </c:pt>
                <c:pt idx="3">
                  <c:v>206.30250000000001</c:v>
                </c:pt>
              </c:numCache>
            </c:numRef>
          </c:xVal>
          <c:yVal>
            <c:numRef>
              <c:f>Sheet1!$B$2:$B$5</c:f>
              <c:numCache>
                <c:formatCode>General</c:formatCode>
                <c:ptCount val="4"/>
                <c:pt idx="0">
                  <c:v>0.97299999999999998</c:v>
                </c:pt>
                <c:pt idx="1">
                  <c:v>0.878</c:v>
                </c:pt>
                <c:pt idx="2">
                  <c:v>0.81499999999999995</c:v>
                </c:pt>
                <c:pt idx="3">
                  <c:v>2.9670000000000001</c:v>
                </c:pt>
              </c:numCache>
            </c:numRef>
          </c:yVal>
          <c:bubbleSize>
            <c:numRef>
              <c:f>Sheet1!$C$2:$C$5</c:f>
              <c:numCache>
                <c:formatCode>General</c:formatCode>
                <c:ptCount val="4"/>
                <c:pt idx="0">
                  <c:v>158375035</c:v>
                </c:pt>
                <c:pt idx="1">
                  <c:v>134294871</c:v>
                </c:pt>
                <c:pt idx="2">
                  <c:v>28962983</c:v>
                </c:pt>
                <c:pt idx="3">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
          <c:min val="12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8A64DC-A351-4904-8B39-ED07D0785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8A3C4B-28C4-4C69-81D2-C5C13825A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F57B56-0077-42E6-988F-9C8A1F429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4392D7-FDF2-4E41-86CD-C335AEA4B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F6E59D-FCD0-49AD-A1D8-DBF806AF3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F08DBD-71D4-42B9-9FC9-2D4EA5973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D1CD55-D160-464D-85C6-439507137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AD4CAF-0383-4802-9DA1-40B8AB53A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31460000000001</c:v>
                </c:pt>
                <c:pt idx="1">
                  <c:v>209.0821</c:v>
                </c:pt>
                <c:pt idx="2">
                  <c:v>228.26419999999999</c:v>
                </c:pt>
                <c:pt idx="3">
                  <c:v>577.1653</c:v>
                </c:pt>
                <c:pt idx="4">
                  <c:v>291.35789999999997</c:v>
                </c:pt>
                <c:pt idx="5">
                  <c:v>84.787800000000004</c:v>
                </c:pt>
                <c:pt idx="6">
                  <c:v>563.72080000000005</c:v>
                </c:pt>
                <c:pt idx="7">
                  <c:v>206.30250000000001</c:v>
                </c:pt>
              </c:numCache>
            </c:numRef>
          </c:xVal>
          <c:yVal>
            <c:numRef>
              <c:f>Sheet1!$B$2:$B$9</c:f>
              <c:numCache>
                <c:formatCode>General</c:formatCode>
                <c:ptCount val="8"/>
                <c:pt idx="0">
                  <c:v>1.03</c:v>
                </c:pt>
                <c:pt idx="1">
                  <c:v>0.748</c:v>
                </c:pt>
                <c:pt idx="2">
                  <c:v>0.751</c:v>
                </c:pt>
                <c:pt idx="3">
                  <c:v>4.0640000000000001</c:v>
                </c:pt>
                <c:pt idx="4">
                  <c:v>1.9950000000000001</c:v>
                </c:pt>
                <c:pt idx="5">
                  <c:v>0.40899999999999997</c:v>
                </c:pt>
                <c:pt idx="6">
                  <c:v>6.1130000000000004</c:v>
                </c:pt>
                <c:pt idx="7">
                  <c:v>2.4860000000000002</c:v>
                </c:pt>
              </c:numCache>
            </c:numRef>
          </c:yVal>
          <c:bubbleSize>
            <c:numRef>
              <c:f>Sheet1!$C$2:$C$9</c:f>
              <c:numCache>
                <c:formatCode>General</c:formatCode>
                <c:ptCount val="8"/>
                <c:pt idx="0">
                  <c:v>523432960</c:v>
                </c:pt>
                <c:pt idx="1">
                  <c:v>246489415</c:v>
                </c:pt>
                <c:pt idx="2">
                  <c:v>205279552</c:v>
                </c:pt>
                <c:pt idx="3">
                  <c:v>108131910</c:v>
                </c:pt>
                <c:pt idx="4">
                  <c:v>101346207</c:v>
                </c:pt>
                <c:pt idx="5">
                  <c:v>61992752</c:v>
                </c:pt>
                <c:pt idx="6">
                  <c:v>44526055</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18007A6-32A4-4BFD-9AFA-E388C1414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DFC6528-AD6D-4261-B8DE-E4418B52B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94BFF78-562E-4DE6-A0FA-FF8FF9429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9E9280D-995D-4206-804B-F72590FDA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EFF07BF-4707-4FF7-865A-3C240CB5D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9BC20AE-5D62-4FAE-95D5-5B0DE759F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708423E-B0C6-4F3C-A1B3-C7A05DBED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E16595D-A4C2-4FFE-80BC-DDDA7E8FD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05040000000002</c:v>
                </c:pt>
                <c:pt idx="1">
                  <c:v>589.79920000000004</c:v>
                </c:pt>
                <c:pt idx="2">
                  <c:v>552.87980000000005</c:v>
                </c:pt>
                <c:pt idx="3">
                  <c:v>161.5934</c:v>
                </c:pt>
                <c:pt idx="4">
                  <c:v>133.5788</c:v>
                </c:pt>
                <c:pt idx="5">
                  <c:v>539.27739999999994</c:v>
                </c:pt>
                <c:pt idx="6">
                  <c:v>567.20190000000002</c:v>
                </c:pt>
              </c:numCache>
            </c:numRef>
          </c:xVal>
          <c:yVal>
            <c:numRef>
              <c:f>Sheet1!$B$2:$B$8</c:f>
              <c:numCache>
                <c:formatCode>General</c:formatCode>
                <c:ptCount val="7"/>
                <c:pt idx="0">
                  <c:v>1.0209999999999999</c:v>
                </c:pt>
                <c:pt idx="1">
                  <c:v>1.8049999999999999</c:v>
                </c:pt>
                <c:pt idx="2">
                  <c:v>8.3439999999999994</c:v>
                </c:pt>
                <c:pt idx="3">
                  <c:v>0.496</c:v>
                </c:pt>
                <c:pt idx="4">
                  <c:v>0.32300000000000001</c:v>
                </c:pt>
                <c:pt idx="5">
                  <c:v>8.5549999999999997</c:v>
                </c:pt>
                <c:pt idx="6">
                  <c:v>52.46</c:v>
                </c:pt>
              </c:numCache>
            </c:numRef>
          </c:yVal>
          <c:bubbleSize>
            <c:numRef>
              <c:f>Sheet1!$C$2:$C$8</c:f>
              <c:numCache>
                <c:formatCode>General</c:formatCode>
                <c:ptCount val="7"/>
                <c:pt idx="0">
                  <c:v>91166125</c:v>
                </c:pt>
                <c:pt idx="1">
                  <c:v>16169345</c:v>
                </c:pt>
                <c:pt idx="2">
                  <c:v>11875859</c:v>
                </c:pt>
                <c:pt idx="3">
                  <c:v>9268512</c:v>
                </c:pt>
                <c:pt idx="4">
                  <c:v>7397860</c:v>
                </c:pt>
                <c:pt idx="5">
                  <c:v>5504944</c:v>
                </c:pt>
                <c:pt idx="6">
                  <c:v>157341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Hawaiian Tropic</c:v>
                  </c:pt>
                  <c:pt idx="4">
                    <c:v>Banana Boat</c:v>
                  </c:pt>
                  <c:pt idx="5">
                    <c:v>La Roche-Posay</c:v>
                  </c:pt>
                  <c:pt idx="6">
                    <c:v>Photoderm</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
          <c:min val="10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3A40BA1-B28E-470E-B9BF-BF4B2B851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CDB2A48A-F947-49F4-BC2C-C4E0F4B08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A29CE6E3-610A-4B8D-A981-BCCC5F7BA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EFBEC665-CAAC-45B9-997D-AF969D865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94C00D8D-6260-4DD0-87E8-5E0D6321F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54CF5F02-435D-437B-A182-0F7D9E369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4BEA899E-995C-425D-A717-B9E9E72E3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5C919592-E155-4D0A-9752-037EEF82D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1.95619999999997</c:v>
                </c:pt>
                <c:pt idx="1">
                  <c:v>580.10599999999999</c:v>
                </c:pt>
                <c:pt idx="2">
                  <c:v>243.3535</c:v>
                </c:pt>
                <c:pt idx="3">
                  <c:v>533.79150000000004</c:v>
                </c:pt>
                <c:pt idx="4">
                  <c:v>524.24919999999997</c:v>
                </c:pt>
                <c:pt idx="5">
                  <c:v>369.12920000000003</c:v>
                </c:pt>
                <c:pt idx="6">
                  <c:v>269.45240000000001</c:v>
                </c:pt>
              </c:numCache>
            </c:numRef>
          </c:xVal>
          <c:yVal>
            <c:numRef>
              <c:f>Sheet1!$B$2:$B$8</c:f>
              <c:numCache>
                <c:formatCode>General</c:formatCode>
                <c:ptCount val="7"/>
                <c:pt idx="0">
                  <c:v>1.123</c:v>
                </c:pt>
                <c:pt idx="1">
                  <c:v>1.3009999999999999</c:v>
                </c:pt>
                <c:pt idx="2">
                  <c:v>0.56799999999999995</c:v>
                </c:pt>
                <c:pt idx="3">
                  <c:v>1.8520000000000001</c:v>
                </c:pt>
                <c:pt idx="4">
                  <c:v>1.0369999999999999</c:v>
                </c:pt>
                <c:pt idx="5">
                  <c:v>1.389</c:v>
                </c:pt>
                <c:pt idx="6">
                  <c:v>0.51600000000000001</c:v>
                </c:pt>
              </c:numCache>
            </c:numRef>
          </c:yVal>
          <c:bubbleSize>
            <c:numRef>
              <c:f>Sheet1!$C$2:$C$8</c:f>
              <c:numCache>
                <c:formatCode>General</c:formatCode>
                <c:ptCount val="7"/>
                <c:pt idx="0">
                  <c:v>17135479</c:v>
                </c:pt>
                <c:pt idx="1">
                  <c:v>14920906</c:v>
                </c:pt>
                <c:pt idx="2">
                  <c:v>11123445</c:v>
                </c:pt>
                <c:pt idx="3">
                  <c:v>4767826</c:v>
                </c:pt>
                <c:pt idx="4">
                  <c:v>4638557</c:v>
                </c:pt>
                <c:pt idx="5">
                  <c:v>2334373</c:v>
                </c:pt>
                <c:pt idx="6">
                  <c:v>676056</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Avene</c:v>
                  </c:pt>
                  <c:pt idx="4">
                    <c:v>Eucerin</c:v>
                  </c:pt>
                  <c:pt idx="5">
                    <c:v>Photoderm</c:v>
                  </c:pt>
                  <c:pt idx="6">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19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AA9F2C-DA33-4F98-9E70-ABA4999E0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AF349E-F584-4779-AE4F-231AB1F43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FED8E9-3E53-41A6-B672-62CD12F76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3ECBCE-E5C8-42B6-A405-021C7DEB1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50D7E67-F0F7-4808-983A-B3476D62B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8533E8-4873-4223-9DA4-B91449EC8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359EA0-C6E6-4857-ADB2-97C7080CF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F73653-7F76-4051-A933-83E2AF894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7157</c:v>
                </c:pt>
                <c:pt idx="1">
                  <c:v>289.75259999999997</c:v>
                </c:pt>
                <c:pt idx="2">
                  <c:v>237.35210000000001</c:v>
                </c:pt>
                <c:pt idx="3">
                  <c:v>241.79230000000001</c:v>
                </c:pt>
                <c:pt idx="4">
                  <c:v>605.11030000000005</c:v>
                </c:pt>
                <c:pt idx="5">
                  <c:v>84.542400000000001</c:v>
                </c:pt>
                <c:pt idx="6">
                  <c:v>74.712599999999995</c:v>
                </c:pt>
                <c:pt idx="7">
                  <c:v>608.33090000000004</c:v>
                </c:pt>
              </c:numCache>
            </c:numRef>
          </c:xVal>
          <c:yVal>
            <c:numRef>
              <c:f>Sheet1!$B$2:$B$9</c:f>
              <c:numCache>
                <c:formatCode>General</c:formatCode>
                <c:ptCount val="8"/>
                <c:pt idx="0">
                  <c:v>1.3149999999999999</c:v>
                </c:pt>
                <c:pt idx="1">
                  <c:v>1.9370000000000001</c:v>
                </c:pt>
                <c:pt idx="2">
                  <c:v>0.70399999999999996</c:v>
                </c:pt>
                <c:pt idx="3">
                  <c:v>0.64300000000000002</c:v>
                </c:pt>
                <c:pt idx="4">
                  <c:v>7.54</c:v>
                </c:pt>
                <c:pt idx="5">
                  <c:v>0.39500000000000002</c:v>
                </c:pt>
                <c:pt idx="6">
                  <c:v>0.377</c:v>
                </c:pt>
                <c:pt idx="7">
                  <c:v>4.6520000000000001</c:v>
                </c:pt>
              </c:numCache>
            </c:numRef>
          </c:yVal>
          <c:bubbleSize>
            <c:numRef>
              <c:f>Sheet1!$C$2:$C$9</c:f>
              <c:numCache>
                <c:formatCode>General</c:formatCode>
                <c:ptCount val="8"/>
                <c:pt idx="0">
                  <c:v>50208653</c:v>
                </c:pt>
                <c:pt idx="1">
                  <c:v>27303679</c:v>
                </c:pt>
                <c:pt idx="2">
                  <c:v>16480779</c:v>
                </c:pt>
                <c:pt idx="3">
                  <c:v>13895559</c:v>
                </c:pt>
                <c:pt idx="4">
                  <c:v>13297903</c:v>
                </c:pt>
                <c:pt idx="5">
                  <c:v>13020373</c:v>
                </c:pt>
                <c:pt idx="6">
                  <c:v>6583303</c:v>
                </c:pt>
                <c:pt idx="7">
                  <c:v>3386578</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Isdin</c:v>
                  </c:pt>
                  <c:pt idx="5">
                    <c:v>Caribbean Beach</c:v>
                  </c:pt>
                  <c:pt idx="6">
                    <c:v>Nuvel</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2D5B7D-ED9A-470D-808F-3BD5657A6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BE0016-70A9-4216-A71E-EDB68015D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A53D61-E23C-4E7C-8E73-3376DA72C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4FF828-CC42-42E1-BDAD-CB808A031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3B6DEA-A35D-43DF-B649-DCDF137FB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DEAD6F-0B6E-4BCA-8558-6F9AA80F1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E5B2A8-C7F0-46B5-A989-1305ABD64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76C740-81A1-42E5-809E-0B2131652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8622</c:v>
                </c:pt>
                <c:pt idx="1">
                  <c:v>557.1028</c:v>
                </c:pt>
                <c:pt idx="2">
                  <c:v>292.4117</c:v>
                </c:pt>
                <c:pt idx="3">
                  <c:v>233.63380000000001</c:v>
                </c:pt>
                <c:pt idx="4">
                  <c:v>83.241100000000003</c:v>
                </c:pt>
                <c:pt idx="5">
                  <c:v>229.74270000000001</c:v>
                </c:pt>
                <c:pt idx="6">
                  <c:v>503.99790000000002</c:v>
                </c:pt>
                <c:pt idx="7">
                  <c:v>610.58199999999999</c:v>
                </c:pt>
              </c:numCache>
            </c:numRef>
          </c:xVal>
          <c:yVal>
            <c:numRef>
              <c:f>Sheet1!$B$2:$B$9</c:f>
              <c:numCache>
                <c:formatCode>General</c:formatCode>
                <c:ptCount val="8"/>
                <c:pt idx="0">
                  <c:v>1.1379999999999999</c:v>
                </c:pt>
                <c:pt idx="1">
                  <c:v>5.6130000000000004</c:v>
                </c:pt>
                <c:pt idx="2">
                  <c:v>1.6160000000000001</c:v>
                </c:pt>
                <c:pt idx="3">
                  <c:v>0.504</c:v>
                </c:pt>
                <c:pt idx="4">
                  <c:v>0.32300000000000001</c:v>
                </c:pt>
                <c:pt idx="5">
                  <c:v>0.56899999999999995</c:v>
                </c:pt>
                <c:pt idx="6">
                  <c:v>3.5339999999999998</c:v>
                </c:pt>
                <c:pt idx="7">
                  <c:v>5.6070000000000002</c:v>
                </c:pt>
              </c:numCache>
            </c:numRef>
          </c:yVal>
          <c:bubbleSize>
            <c:numRef>
              <c:f>Sheet1!$C$2:$C$9</c:f>
              <c:numCache>
                <c:formatCode>General</c:formatCode>
                <c:ptCount val="8"/>
                <c:pt idx="0">
                  <c:v>37755157</c:v>
                </c:pt>
                <c:pt idx="1">
                  <c:v>21833973</c:v>
                </c:pt>
                <c:pt idx="2">
                  <c:v>19050625</c:v>
                </c:pt>
                <c:pt idx="3">
                  <c:v>10213069</c:v>
                </c:pt>
                <c:pt idx="4">
                  <c:v>9481823</c:v>
                </c:pt>
                <c:pt idx="5">
                  <c:v>8687950</c:v>
                </c:pt>
                <c:pt idx="6">
                  <c:v>6103415</c:v>
                </c:pt>
                <c:pt idx="7">
                  <c:v>581213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Neutrogena</c:v>
                  </c:pt>
                  <c:pt idx="3">
                    <c:v>Banana Boat</c:v>
                  </c:pt>
                  <c:pt idx="4">
                    <c:v>Caribbean Beach</c:v>
                  </c:pt>
                  <c:pt idx="5">
                    <c:v>Hawaiian Tropic</c:v>
                  </c:pt>
                  <c:pt idx="6">
                    <c:v>Avene</c:v>
                  </c:pt>
                  <c:pt idx="7">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
          <c:min val="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42887A3-8075-4207-AC4D-57BFD5907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5CE253C-7445-4352-AC87-9EAE54B00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B2BC2AE-403F-4829-B966-5EEA84B79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F874A8E-6413-41D1-AA52-2BE69C9E5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82AE394-79AF-4C23-8A68-D531C549C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B8911E5-6151-4400-9C25-C485B58BA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725206C-9FBD-431E-8914-2A725ACEF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82D01AC-D921-4748-B4ED-78D5065DC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62960000000001</c:v>
                </c:pt>
                <c:pt idx="1">
                  <c:v>228.48439999999999</c:v>
                </c:pt>
                <c:pt idx="2">
                  <c:v>125.84229999999999</c:v>
                </c:pt>
                <c:pt idx="3">
                  <c:v>220.01349999999999</c:v>
                </c:pt>
                <c:pt idx="4">
                  <c:v>546.37030000000004</c:v>
                </c:pt>
                <c:pt idx="5">
                  <c:v>488.51229999999998</c:v>
                </c:pt>
              </c:numCache>
            </c:numRef>
          </c:xVal>
          <c:yVal>
            <c:numRef>
              <c:f>Sheet1!$B$2:$B$7</c:f>
              <c:numCache>
                <c:formatCode>General</c:formatCode>
                <c:ptCount val="6"/>
                <c:pt idx="0">
                  <c:v>0.84299999999999997</c:v>
                </c:pt>
                <c:pt idx="1">
                  <c:v>0.95399999999999996</c:v>
                </c:pt>
                <c:pt idx="2">
                  <c:v>0.82499999999999996</c:v>
                </c:pt>
                <c:pt idx="3">
                  <c:v>3.1019999999999999</c:v>
                </c:pt>
                <c:pt idx="4">
                  <c:v>5.0730000000000004</c:v>
                </c:pt>
                <c:pt idx="5">
                  <c:v>2.99</c:v>
                </c:pt>
              </c:numCache>
            </c:numRef>
          </c:yVal>
          <c:bubbleSize>
            <c:numRef>
              <c:f>Sheet1!$C$2:$C$7</c:f>
              <c:numCache>
                <c:formatCode>General</c:formatCode>
                <c:ptCount val="6"/>
                <c:pt idx="0">
                  <c:v>19872067</c:v>
                </c:pt>
                <c:pt idx="1">
                  <c:v>19481266</c:v>
                </c:pt>
                <c:pt idx="2">
                  <c:v>5647804</c:v>
                </c:pt>
                <c:pt idx="3">
                  <c:v>1917198</c:v>
                </c:pt>
                <c:pt idx="4">
                  <c:v>979642</c:v>
                </c:pt>
                <c:pt idx="5">
                  <c:v>635066</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Beauty Care</c:v>
                  </c:pt>
                  <c:pt idx="4">
                    <c:v>La Roche-Posay</c:v>
                  </c:pt>
                  <c:pt idx="5">
                    <c:v>Cetaphi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56"/>
          <c:min val="10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9B7BCE6-706E-4DB9-BA56-D639FAB46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6C1CD39-538E-47CE-974A-2FEB39431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80F1A0A-47D0-4C40-AC03-4D0BAB54D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8585633-5A50-40DD-9C1E-5E3D9707C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A3C1E22-6F0B-4846-9242-717DBD1BE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AD7DB63-71BC-4EE6-BA57-2B9B6DDDC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BCB9985-A44A-4B70-BE20-F1C931AA8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B5ACF529-30CE-4306-B882-D1A4F8BF0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1.18689999999998</c:v>
                </c:pt>
                <c:pt idx="1">
                  <c:v>568.3691</c:v>
                </c:pt>
                <c:pt idx="2">
                  <c:v>567.94410000000005</c:v>
                </c:pt>
                <c:pt idx="3">
                  <c:v>524.35059999999999</c:v>
                </c:pt>
                <c:pt idx="4">
                  <c:v>126.7676</c:v>
                </c:pt>
                <c:pt idx="5">
                  <c:v>148.7473</c:v>
                </c:pt>
                <c:pt idx="6">
                  <c:v>484.17680000000001</c:v>
                </c:pt>
                <c:pt idx="7">
                  <c:v>503.7749</c:v>
                </c:pt>
              </c:numCache>
            </c:numRef>
          </c:xVal>
          <c:yVal>
            <c:numRef>
              <c:f>Sheet1!$B$2:$B$9</c:f>
              <c:numCache>
                <c:formatCode>General</c:formatCode>
                <c:ptCount val="8"/>
                <c:pt idx="0">
                  <c:v>0.79200000000000004</c:v>
                </c:pt>
                <c:pt idx="1">
                  <c:v>1.3979999999999999</c:v>
                </c:pt>
                <c:pt idx="2">
                  <c:v>6.423</c:v>
                </c:pt>
                <c:pt idx="3">
                  <c:v>6.2460000000000004</c:v>
                </c:pt>
                <c:pt idx="4">
                  <c:v>0.27300000000000002</c:v>
                </c:pt>
                <c:pt idx="5">
                  <c:v>0.35399999999999998</c:v>
                </c:pt>
                <c:pt idx="6">
                  <c:v>17.97</c:v>
                </c:pt>
                <c:pt idx="7">
                  <c:v>3.1840000000000002</c:v>
                </c:pt>
              </c:numCache>
            </c:numRef>
          </c:yVal>
          <c:bubbleSize>
            <c:numRef>
              <c:f>Sheet1!$C$2:$C$9</c:f>
              <c:numCache>
                <c:formatCode>General</c:formatCode>
                <c:ptCount val="8"/>
                <c:pt idx="0">
                  <c:v>13823058</c:v>
                </c:pt>
                <c:pt idx="1">
                  <c:v>4669152</c:v>
                </c:pt>
                <c:pt idx="2">
                  <c:v>4132361</c:v>
                </c:pt>
                <c:pt idx="3">
                  <c:v>2020323</c:v>
                </c:pt>
                <c:pt idx="4">
                  <c:v>933136</c:v>
                </c:pt>
                <c:pt idx="5">
                  <c:v>672784</c:v>
                </c:pt>
                <c:pt idx="6">
                  <c:v>635240</c:v>
                </c:pt>
                <c:pt idx="7">
                  <c:v>39395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Banana Boat</c:v>
                  </c:pt>
                  <c:pt idx="5">
                    <c:v>Hawaiian Tropic</c:v>
                  </c:pt>
                  <c:pt idx="6">
                    <c:v>Photoderm</c:v>
                  </c:pt>
                  <c:pt idx="7">
                    <c:v>Cetaphil</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2"/>
          <c:min val="10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0293953-3017-400C-83A5-39537C818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B2E419D-00F0-4C9C-A403-C4F7CAA83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47ABD07-CCEE-41F6-B560-D517139F9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C36AC478-1907-4656-8096-EC1112304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F21DC7C6-C9BE-4BCE-95F8-901C25A62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E2B68B05-6FE5-4D58-9412-F3338FA2C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24EB3D03-5281-4B75-821B-B1982229F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A995912-8C68-4E0C-8115-146F48A04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28.62750000000005</c:v>
                </c:pt>
                <c:pt idx="1">
                  <c:v>549.80380000000002</c:v>
                </c:pt>
                <c:pt idx="2">
                  <c:v>529.0403</c:v>
                </c:pt>
                <c:pt idx="3">
                  <c:v>233.2843</c:v>
                </c:pt>
                <c:pt idx="4">
                  <c:v>529.23760000000004</c:v>
                </c:pt>
                <c:pt idx="5">
                  <c:v>362.66230000000002</c:v>
                </c:pt>
                <c:pt idx="6">
                  <c:v>263.1961</c:v>
                </c:pt>
              </c:numCache>
            </c:numRef>
          </c:xVal>
          <c:yVal>
            <c:numRef>
              <c:f>Sheet1!$B$2:$B$8</c:f>
              <c:numCache>
                <c:formatCode>General</c:formatCode>
                <c:ptCount val="7"/>
                <c:pt idx="0">
                  <c:v>1.0289999999999999</c:v>
                </c:pt>
                <c:pt idx="1">
                  <c:v>1.105</c:v>
                </c:pt>
                <c:pt idx="2">
                  <c:v>1.228</c:v>
                </c:pt>
                <c:pt idx="3">
                  <c:v>0.55500000000000005</c:v>
                </c:pt>
                <c:pt idx="4">
                  <c:v>1.0680000000000001</c:v>
                </c:pt>
                <c:pt idx="5">
                  <c:v>1.175</c:v>
                </c:pt>
                <c:pt idx="6">
                  <c:v>0.54700000000000004</c:v>
                </c:pt>
              </c:numCache>
            </c:numRef>
          </c:yVal>
          <c:bubbleSize>
            <c:numRef>
              <c:f>Sheet1!$C$2:$C$8</c:f>
              <c:numCache>
                <c:formatCode>General</c:formatCode>
                <c:ptCount val="7"/>
                <c:pt idx="0">
                  <c:v>8379275</c:v>
                </c:pt>
                <c:pt idx="1">
                  <c:v>5299559</c:v>
                </c:pt>
                <c:pt idx="2">
                  <c:v>2663718</c:v>
                </c:pt>
                <c:pt idx="3">
                  <c:v>2100492</c:v>
                </c:pt>
                <c:pt idx="4">
                  <c:v>1220422</c:v>
                </c:pt>
                <c:pt idx="5">
                  <c:v>803297</c:v>
                </c:pt>
                <c:pt idx="6">
                  <c:v>81854</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Nivea</c:v>
                  </c:pt>
                  <c:pt idx="4">
                    <c:v>Eucerin</c:v>
                  </c:pt>
                  <c:pt idx="5">
                    <c:v>Photoderm</c:v>
                  </c:pt>
                  <c:pt idx="6">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0"/>
          <c:min val="18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ECBB95-63BE-4525-8928-D3EDC48D0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DA9222-9492-48D0-9172-0EB6F75D0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0B8D0A-EE82-42D2-8150-B015F5D02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7E8D2D-805C-4689-B90E-E17319A15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DF9CC3-4B90-47DD-9E69-FB4A95163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2D46EC-C457-45F0-B705-F3EC37EEF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55E85C-29AE-4BE7-8216-D946BA8F5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BAF1C0-D691-44E5-BEE5-3079BEE06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3.97730000000001</c:v>
                </c:pt>
                <c:pt idx="1">
                  <c:v>243.59569999999999</c:v>
                </c:pt>
                <c:pt idx="2">
                  <c:v>280.85379999999998</c:v>
                </c:pt>
                <c:pt idx="3">
                  <c:v>87.398799999999994</c:v>
                </c:pt>
                <c:pt idx="4">
                  <c:v>229.4393</c:v>
                </c:pt>
                <c:pt idx="5">
                  <c:v>73.717100000000002</c:v>
                </c:pt>
                <c:pt idx="6">
                  <c:v>609.80110000000002</c:v>
                </c:pt>
                <c:pt idx="7">
                  <c:v>314.01530000000002</c:v>
                </c:pt>
              </c:numCache>
            </c:numRef>
          </c:xVal>
          <c:yVal>
            <c:numRef>
              <c:f>Sheet1!$B$2:$B$9</c:f>
              <c:numCache>
                <c:formatCode>General</c:formatCode>
                <c:ptCount val="8"/>
                <c:pt idx="0">
                  <c:v>1.476</c:v>
                </c:pt>
                <c:pt idx="1">
                  <c:v>0.85599999999999998</c:v>
                </c:pt>
                <c:pt idx="2">
                  <c:v>2.1349999999999998</c:v>
                </c:pt>
                <c:pt idx="3">
                  <c:v>0.49099999999999999</c:v>
                </c:pt>
                <c:pt idx="4">
                  <c:v>0.77900000000000003</c:v>
                </c:pt>
                <c:pt idx="5">
                  <c:v>0.46400000000000002</c:v>
                </c:pt>
                <c:pt idx="6">
                  <c:v>12.891</c:v>
                </c:pt>
                <c:pt idx="7">
                  <c:v>2.7770000000000001</c:v>
                </c:pt>
              </c:numCache>
            </c:numRef>
          </c:yVal>
          <c:bubbleSize>
            <c:numRef>
              <c:f>Sheet1!$C$2:$C$9</c:f>
              <c:numCache>
                <c:formatCode>General</c:formatCode>
                <c:ptCount val="8"/>
                <c:pt idx="0">
                  <c:v>39156801</c:v>
                </c:pt>
                <c:pt idx="1">
                  <c:v>13549521</c:v>
                </c:pt>
                <c:pt idx="2">
                  <c:v>12857206</c:v>
                </c:pt>
                <c:pt idx="3">
                  <c:v>10152939</c:v>
                </c:pt>
                <c:pt idx="4">
                  <c:v>9754842</c:v>
                </c:pt>
                <c:pt idx="5">
                  <c:v>3202788</c:v>
                </c:pt>
                <c:pt idx="6">
                  <c:v>1489744</c:v>
                </c:pt>
                <c:pt idx="7">
                  <c:v>129499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Neutrogena</c:v>
                  </c:pt>
                  <c:pt idx="3">
                    <c:v>Caribbean Beach</c:v>
                  </c:pt>
                  <c:pt idx="4">
                    <c:v>Banana Boat</c:v>
                  </c:pt>
                  <c:pt idx="5">
                    <c:v>Nuvel</c:v>
                  </c:pt>
                  <c:pt idx="6">
                    <c:v>Isdin</c:v>
                  </c:pt>
                  <c:pt idx="7">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2"/>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38820B-C7ED-4E88-8AB5-ABE53F096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0F9443-11A3-4855-AA79-C2B1BD8AD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7AC71E-FC78-4D89-9DA9-7F0341464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3AE6AA-D5D9-40B7-B0DC-685E838E3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99F7CD-8BFC-4EF7-9E81-309B41D60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D495FD-9861-43DC-818D-2432BDBCA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B0B060-888C-464D-99BF-FE8BFB4E4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2F4EC9-2FF0-46E5-84FB-F74CF8E93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44589999999999</c:v>
                </c:pt>
                <c:pt idx="1">
                  <c:v>289.0043</c:v>
                </c:pt>
                <c:pt idx="2">
                  <c:v>234.1463</c:v>
                </c:pt>
                <c:pt idx="3">
                  <c:v>84.979500000000002</c:v>
                </c:pt>
                <c:pt idx="4">
                  <c:v>240.13929999999999</c:v>
                </c:pt>
                <c:pt idx="5">
                  <c:v>601.13319999999999</c:v>
                </c:pt>
                <c:pt idx="6">
                  <c:v>74.441800000000001</c:v>
                </c:pt>
                <c:pt idx="7">
                  <c:v>628.87369999999999</c:v>
                </c:pt>
              </c:numCache>
            </c:numRef>
          </c:xVal>
          <c:yVal>
            <c:numRef>
              <c:f>Sheet1!$B$2:$B$9</c:f>
              <c:numCache>
                <c:formatCode>General</c:formatCode>
                <c:ptCount val="8"/>
                <c:pt idx="0">
                  <c:v>1.405</c:v>
                </c:pt>
                <c:pt idx="1">
                  <c:v>2.0350000000000001</c:v>
                </c:pt>
                <c:pt idx="2">
                  <c:v>0.749</c:v>
                </c:pt>
                <c:pt idx="3">
                  <c:v>0.45200000000000001</c:v>
                </c:pt>
                <c:pt idx="4">
                  <c:v>0.69</c:v>
                </c:pt>
                <c:pt idx="5">
                  <c:v>8.5909999999999993</c:v>
                </c:pt>
                <c:pt idx="6">
                  <c:v>0.40500000000000003</c:v>
                </c:pt>
                <c:pt idx="7">
                  <c:v>5.0339999999999998</c:v>
                </c:pt>
              </c:numCache>
            </c:numRef>
          </c:yVal>
          <c:bubbleSize>
            <c:numRef>
              <c:f>Sheet1!$C$2:$C$9</c:f>
              <c:numCache>
                <c:formatCode>General</c:formatCode>
                <c:ptCount val="8"/>
                <c:pt idx="0">
                  <c:v>36316877</c:v>
                </c:pt>
                <c:pt idx="1">
                  <c:v>15832523</c:v>
                </c:pt>
                <c:pt idx="2">
                  <c:v>13015722</c:v>
                </c:pt>
                <c:pt idx="3">
                  <c:v>12461813</c:v>
                </c:pt>
                <c:pt idx="4">
                  <c:v>11205618</c:v>
                </c:pt>
                <c:pt idx="5">
                  <c:v>7913318</c:v>
                </c:pt>
                <c:pt idx="6">
                  <c:v>4963182</c:v>
                </c:pt>
                <c:pt idx="7">
                  <c:v>3031800</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Caribbean Beach</c:v>
                  </c:pt>
                  <c:pt idx="4">
                    <c:v>Banana Boat</c:v>
                  </c:pt>
                  <c:pt idx="5">
                    <c:v>Isdin</c:v>
                  </c:pt>
                  <c:pt idx="6">
                    <c:v>Nuvel</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5"/>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E2BC6FC-338B-4947-9C51-E24EAF169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F055594-1668-42A0-96C7-DC2CDBF62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290D209-B7CF-4E27-9678-A8C5D36F2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67E0FA6-0A2A-4A7D-BC85-379DDA0A5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68C0862F-1B21-4919-9E0D-75364FC85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7C4DE165-FF7D-4E07-B045-07E97E734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123CBDF0-FD97-4126-9149-D0F7E2477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1EBAFD15-B8D2-4594-924D-2D64AAE6F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5.68950000000001</c:v>
                </c:pt>
                <c:pt idx="1">
                  <c:v>191.90969999999999</c:v>
                </c:pt>
                <c:pt idx="2">
                  <c:v>162.45240000000001</c:v>
                </c:pt>
                <c:pt idx="3">
                  <c:v>214.86019999999999</c:v>
                </c:pt>
              </c:numCache>
            </c:numRef>
          </c:xVal>
          <c:yVal>
            <c:numRef>
              <c:f>Sheet1!$B$2:$B$5</c:f>
              <c:numCache>
                <c:formatCode>General</c:formatCode>
                <c:ptCount val="4"/>
                <c:pt idx="0">
                  <c:v>0.97499999999999998</c:v>
                </c:pt>
                <c:pt idx="1">
                  <c:v>0.875</c:v>
                </c:pt>
                <c:pt idx="2">
                  <c:v>0.80700000000000005</c:v>
                </c:pt>
                <c:pt idx="3">
                  <c:v>3.12</c:v>
                </c:pt>
              </c:numCache>
            </c:numRef>
          </c:yVal>
          <c:bubbleSize>
            <c:numRef>
              <c:f>Sheet1!$C$2:$C$5</c:f>
              <c:numCache>
                <c:formatCode>General</c:formatCode>
                <c:ptCount val="4"/>
                <c:pt idx="0">
                  <c:v>28072614</c:v>
                </c:pt>
                <c:pt idx="1">
                  <c:v>21682914</c:v>
                </c:pt>
                <c:pt idx="2">
                  <c:v>4595292</c:v>
                </c:pt>
                <c:pt idx="3">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
          <c:min val="1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0CEEBEE-3413-40F5-BACC-54E75A0D2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BB3E6D2-BD4F-4CA0-896D-C5A13CB02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1A1AC96-DF32-44B2-A406-F625E5B05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72342E1-472F-4517-8F57-04A304CF5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4A43AFF-26E3-4840-BCBA-77B7FE6D5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81F31DD-B94C-4B49-A1F3-41F7C3203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7CC4379-AD83-48A7-9CC8-BAD0B924E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818E9BF-056B-4F9A-91DF-F2E6F1B27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89710000000002</c:v>
                </c:pt>
                <c:pt idx="1">
                  <c:v>455.8596</c:v>
                </c:pt>
                <c:pt idx="2">
                  <c:v>304.61450000000002</c:v>
                </c:pt>
                <c:pt idx="3">
                  <c:v>427.7079</c:v>
                </c:pt>
                <c:pt idx="4">
                  <c:v>503.90859999999998</c:v>
                </c:pt>
                <c:pt idx="5">
                  <c:v>166.61779999999999</c:v>
                </c:pt>
                <c:pt idx="6">
                  <c:v>295.6549</c:v>
                </c:pt>
                <c:pt idx="7">
                  <c:v>262.89699999999999</c:v>
                </c:pt>
              </c:numCache>
            </c:numRef>
          </c:xVal>
          <c:yVal>
            <c:numRef>
              <c:f>Sheet1!$B$2:$B$9</c:f>
              <c:numCache>
                <c:formatCode>General</c:formatCode>
                <c:ptCount val="8"/>
                <c:pt idx="0">
                  <c:v>2.2189999999999999</c:v>
                </c:pt>
                <c:pt idx="1">
                  <c:v>1.8</c:v>
                </c:pt>
                <c:pt idx="2">
                  <c:v>0.74399999999999999</c:v>
                </c:pt>
                <c:pt idx="3">
                  <c:v>1.121</c:v>
                </c:pt>
                <c:pt idx="4">
                  <c:v>0.54100000000000004</c:v>
                </c:pt>
                <c:pt idx="5">
                  <c:v>0.999</c:v>
                </c:pt>
                <c:pt idx="6">
                  <c:v>2.3410000000000002</c:v>
                </c:pt>
                <c:pt idx="7">
                  <c:v>0.16500000000000001</c:v>
                </c:pt>
              </c:numCache>
            </c:numRef>
          </c:yVal>
          <c:bubbleSize>
            <c:numRef>
              <c:f>Sheet1!$C$2:$C$9</c:f>
              <c:numCache>
                <c:formatCode>General</c:formatCode>
                <c:ptCount val="8"/>
                <c:pt idx="0">
                  <c:v>6292251</c:v>
                </c:pt>
                <c:pt idx="1">
                  <c:v>4300124</c:v>
                </c:pt>
                <c:pt idx="2">
                  <c:v>2476516</c:v>
                </c:pt>
                <c:pt idx="3">
                  <c:v>2076094</c:v>
                </c:pt>
                <c:pt idx="4">
                  <c:v>1069294</c:v>
                </c:pt>
                <c:pt idx="5">
                  <c:v>768941</c:v>
                </c:pt>
                <c:pt idx="6">
                  <c:v>709276</c:v>
                </c:pt>
                <c:pt idx="7">
                  <c:v>43378</c:v>
                </c:pt>
              </c:numCache>
            </c:numRef>
          </c:bubbleSize>
          <c:bubble3D val="0"/>
          <c:extLst>
            <c:ext xmlns:c15="http://schemas.microsoft.com/office/drawing/2012/chart" uri="{02D57815-91ED-43cb-92C2-25804820EDAC}">
              <c15:datalabelsRange>
                <c15:f>Sheet1!$E$2:$E$10</c15:f>
                <c15:dlblRangeCache>
                  <c:ptCount val="9"/>
                  <c:pt idx="0">
                    <c:v>La Roche-Posay</c:v>
                  </c:pt>
                  <c:pt idx="1">
                    <c:v>Avene</c:v>
                  </c:pt>
                  <c:pt idx="2">
                    <c:v>Vichy</c:v>
                  </c:pt>
                  <c:pt idx="3">
                    <c:v>Eucerin</c:v>
                  </c:pt>
                  <c:pt idx="4">
                    <c:v>Eclipsol</c:v>
                  </c:pt>
                  <c:pt idx="5">
                    <c:v>Neutrogena</c:v>
                  </c:pt>
                  <c:pt idx="6">
                    <c:v>Photoderm</c:v>
                  </c:pt>
                  <c:pt idx="7">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5"/>
          <c:min val="13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EF4DC24-D5E1-4A31-8C0E-BA314F7F3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569E8F7-0428-4E99-9D30-D3E772F9E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4AD7900-785E-4EE0-A472-067DE81EC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BF51FA9-5528-432C-9B67-B34292146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7F408D5-BE60-45A4-9D33-7E2E93770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E853D7F2-9993-4991-953D-F47F7FF61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A0E80ABE-3847-4119-B173-452D6A06D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E5A5244-A417-4438-9BC4-1CE8B8DD8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68689999999998</c:v>
                </c:pt>
                <c:pt idx="1">
                  <c:v>601.07420000000002</c:v>
                </c:pt>
                <c:pt idx="2">
                  <c:v>551.88130000000001</c:v>
                </c:pt>
                <c:pt idx="3">
                  <c:v>168.59960000000001</c:v>
                </c:pt>
                <c:pt idx="4">
                  <c:v>134.07570000000001</c:v>
                </c:pt>
                <c:pt idx="5">
                  <c:v>561.17010000000005</c:v>
                </c:pt>
                <c:pt idx="6">
                  <c:v>636.54790000000003</c:v>
                </c:pt>
              </c:numCache>
            </c:numRef>
          </c:xVal>
          <c:yVal>
            <c:numRef>
              <c:f>Sheet1!$B$2:$B$8</c:f>
              <c:numCache>
                <c:formatCode>General</c:formatCode>
                <c:ptCount val="7"/>
                <c:pt idx="0">
                  <c:v>0.99</c:v>
                </c:pt>
                <c:pt idx="1">
                  <c:v>1.7450000000000001</c:v>
                </c:pt>
                <c:pt idx="2">
                  <c:v>8.173</c:v>
                </c:pt>
                <c:pt idx="3">
                  <c:v>0.501</c:v>
                </c:pt>
                <c:pt idx="4">
                  <c:v>0.307</c:v>
                </c:pt>
                <c:pt idx="5">
                  <c:v>8.3309999999999995</c:v>
                </c:pt>
                <c:pt idx="6">
                  <c:v>0</c:v>
                </c:pt>
              </c:numCache>
            </c:numRef>
          </c:yVal>
          <c:bubbleSize>
            <c:numRef>
              <c:f>Sheet1!$C$2:$C$8</c:f>
              <c:numCache>
                <c:formatCode>General</c:formatCode>
                <c:ptCount val="7"/>
                <c:pt idx="0">
                  <c:v>16062904</c:v>
                </c:pt>
                <c:pt idx="1">
                  <c:v>3238588</c:v>
                </c:pt>
                <c:pt idx="2">
                  <c:v>1854873</c:v>
                </c:pt>
                <c:pt idx="3">
                  <c:v>1242916</c:v>
                </c:pt>
                <c:pt idx="4">
                  <c:v>1106527</c:v>
                </c:pt>
                <c:pt idx="5">
                  <c:v>798545</c:v>
                </c:pt>
                <c:pt idx="6">
                  <c:v>27880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Hawaiian Tropic</c:v>
                  </c:pt>
                  <c:pt idx="4">
                    <c:v>Banana Boat</c:v>
                  </c:pt>
                  <c:pt idx="5">
                    <c:v>La Roche-Posay</c:v>
                  </c:pt>
                  <c:pt idx="6">
                    <c:v>Photoderm</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4"/>
          <c:min val="10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D87C911-17E7-49B1-8CD9-C51599EB9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44DCA883-FD60-4358-8469-C0B66D8E5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AFDCA5B5-49FE-4160-8625-09A3CFDC9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6E0EA64D-028C-447D-AC97-F1C3EE6CC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8148BD8B-C726-4FE4-845B-8F7317DBA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4947FB2F-14A1-49C0-B2B6-8F0C30E45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0AAD7DC2-AD4F-459F-8D03-7C5492D77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7E5E1EF-F22E-43FF-9EBD-6ED7D82C2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71.56500000000005</c:v>
                </c:pt>
                <c:pt idx="1">
                  <c:v>596.10739999999998</c:v>
                </c:pt>
                <c:pt idx="2">
                  <c:v>245.0052</c:v>
                </c:pt>
                <c:pt idx="3">
                  <c:v>538.80119999999999</c:v>
                </c:pt>
                <c:pt idx="4">
                  <c:v>535.92679999999996</c:v>
                </c:pt>
                <c:pt idx="5">
                  <c:v>453.06009999999998</c:v>
                </c:pt>
                <c:pt idx="6">
                  <c:v>273.37549999999999</c:v>
                </c:pt>
              </c:numCache>
            </c:numRef>
          </c:xVal>
          <c:yVal>
            <c:numRef>
              <c:f>Sheet1!$B$2:$B$8</c:f>
              <c:numCache>
                <c:formatCode>General</c:formatCode>
                <c:ptCount val="7"/>
                <c:pt idx="0">
                  <c:v>1.087</c:v>
                </c:pt>
                <c:pt idx="1">
                  <c:v>1.258</c:v>
                </c:pt>
                <c:pt idx="2">
                  <c:v>0.54</c:v>
                </c:pt>
                <c:pt idx="3">
                  <c:v>0.95599999999999996</c:v>
                </c:pt>
                <c:pt idx="4">
                  <c:v>11.086</c:v>
                </c:pt>
                <c:pt idx="5">
                  <c:v>2.2709999999999999</c:v>
                </c:pt>
                <c:pt idx="6">
                  <c:v>0.433</c:v>
                </c:pt>
              </c:numCache>
            </c:numRef>
          </c:yVal>
          <c:bubbleSize>
            <c:numRef>
              <c:f>Sheet1!$C$2:$C$8</c:f>
              <c:numCache>
                <c:formatCode>General</c:formatCode>
                <c:ptCount val="7"/>
                <c:pt idx="0">
                  <c:v>2593762</c:v>
                </c:pt>
                <c:pt idx="1">
                  <c:v>2529880</c:v>
                </c:pt>
                <c:pt idx="2">
                  <c:v>1803483</c:v>
                </c:pt>
                <c:pt idx="3">
                  <c:v>842685</c:v>
                </c:pt>
                <c:pt idx="4">
                  <c:v>651687</c:v>
                </c:pt>
                <c:pt idx="5">
                  <c:v>347044</c:v>
                </c:pt>
                <c:pt idx="6">
                  <c:v>71351</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Eucerin</c:v>
                  </c:pt>
                  <c:pt idx="4">
                    <c:v>Avene</c:v>
                  </c:pt>
                  <c:pt idx="5">
                    <c:v>Photoderm</c:v>
                  </c:pt>
                  <c:pt idx="6">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5"/>
          <c:min val="19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224596-D471-438A-BB0F-AC4E826B6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BA197A-8686-4A40-A0CA-883CD57EF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7DD2A4-674B-4D6C-A3F8-55238C194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967DA2-CCC5-4B94-8961-D9581DEAC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EC2015-62BC-4E70-8E1A-A3C411D7C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07C466-D8BC-4B68-A423-C653C68A5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AE4BC7-BE4D-4A61-B94A-537679C5C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BFAA26-2E2E-4745-AFE7-C7DB28B48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1884</c:v>
                </c:pt>
                <c:pt idx="1">
                  <c:v>296.70359999999999</c:v>
                </c:pt>
                <c:pt idx="2">
                  <c:v>243.22069999999999</c:v>
                </c:pt>
                <c:pt idx="3">
                  <c:v>246.98949999999999</c:v>
                </c:pt>
                <c:pt idx="4">
                  <c:v>85.877600000000001</c:v>
                </c:pt>
                <c:pt idx="5">
                  <c:v>592.28729999999996</c:v>
                </c:pt>
                <c:pt idx="6">
                  <c:v>74.820400000000006</c:v>
                </c:pt>
                <c:pt idx="7">
                  <c:v>522.14819999999997</c:v>
                </c:pt>
              </c:numCache>
            </c:numRef>
          </c:xVal>
          <c:yVal>
            <c:numRef>
              <c:f>Sheet1!$B$2:$B$9</c:f>
              <c:numCache>
                <c:formatCode>General</c:formatCode>
                <c:ptCount val="8"/>
                <c:pt idx="0">
                  <c:v>1.42</c:v>
                </c:pt>
                <c:pt idx="1">
                  <c:v>2.2170000000000001</c:v>
                </c:pt>
                <c:pt idx="2">
                  <c:v>0.76900000000000002</c:v>
                </c:pt>
                <c:pt idx="3">
                  <c:v>0.70499999999999996</c:v>
                </c:pt>
                <c:pt idx="4">
                  <c:v>0.42799999999999999</c:v>
                </c:pt>
                <c:pt idx="5">
                  <c:v>8.6219999999999999</c:v>
                </c:pt>
                <c:pt idx="6">
                  <c:v>0.40699999999999997</c:v>
                </c:pt>
                <c:pt idx="7">
                  <c:v>5.4180000000000001</c:v>
                </c:pt>
              </c:numCache>
            </c:numRef>
          </c:yVal>
          <c:bubbleSize>
            <c:numRef>
              <c:f>Sheet1!$C$2:$C$9</c:f>
              <c:numCache>
                <c:formatCode>General</c:formatCode>
                <c:ptCount val="8"/>
                <c:pt idx="0">
                  <c:v>29673359</c:v>
                </c:pt>
                <c:pt idx="1">
                  <c:v>15085897</c:v>
                </c:pt>
                <c:pt idx="2">
                  <c:v>13521853</c:v>
                </c:pt>
                <c:pt idx="3">
                  <c:v>13036602</c:v>
                </c:pt>
                <c:pt idx="4">
                  <c:v>11365128</c:v>
                </c:pt>
                <c:pt idx="5">
                  <c:v>7846030</c:v>
                </c:pt>
                <c:pt idx="6">
                  <c:v>4294539</c:v>
                </c:pt>
                <c:pt idx="7">
                  <c:v>2328259</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Caribbean Beach</c:v>
                  </c:pt>
                  <c:pt idx="5">
                    <c:v>Isdin</c:v>
                  </c:pt>
                  <c:pt idx="6">
                    <c:v>Nuvel</c:v>
                  </c:pt>
                  <c:pt idx="7">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6DF0C0-791B-4612-A52A-3BD07C30A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289D28-0BE1-4057-AB05-C43985C71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392835-54AD-4AF9-AA6F-12CF84D48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9D3496-C417-487D-B382-BAAA0A903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2DF23A-0CA5-46F2-BA0E-3B98C015C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A64929-5DD7-42FA-B13B-C44A429ED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701023-FD4F-4709-B11F-1FBB9926F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560704-12EE-4BCD-8F17-B89299587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43049999999999</c:v>
                </c:pt>
                <c:pt idx="1">
                  <c:v>245.56880000000001</c:v>
                </c:pt>
                <c:pt idx="2">
                  <c:v>294.39339999999999</c:v>
                </c:pt>
                <c:pt idx="3">
                  <c:v>241.8605</c:v>
                </c:pt>
                <c:pt idx="4">
                  <c:v>80.912599999999998</c:v>
                </c:pt>
                <c:pt idx="5">
                  <c:v>614.81870000000004</c:v>
                </c:pt>
                <c:pt idx="6">
                  <c:v>73.085599999999999</c:v>
                </c:pt>
                <c:pt idx="7">
                  <c:v>635.64369999999997</c:v>
                </c:pt>
              </c:numCache>
            </c:numRef>
          </c:xVal>
          <c:yVal>
            <c:numRef>
              <c:f>Sheet1!$B$2:$B$9</c:f>
              <c:numCache>
                <c:formatCode>General</c:formatCode>
                <c:ptCount val="8"/>
                <c:pt idx="0">
                  <c:v>1.506</c:v>
                </c:pt>
                <c:pt idx="1">
                  <c:v>0.745</c:v>
                </c:pt>
                <c:pt idx="2">
                  <c:v>2.109</c:v>
                </c:pt>
                <c:pt idx="3">
                  <c:v>0.69399999999999995</c:v>
                </c:pt>
                <c:pt idx="4">
                  <c:v>0.42399999999999999</c:v>
                </c:pt>
                <c:pt idx="5">
                  <c:v>11.061</c:v>
                </c:pt>
                <c:pt idx="6">
                  <c:v>0.39200000000000002</c:v>
                </c:pt>
                <c:pt idx="7">
                  <c:v>6.0039999999999996</c:v>
                </c:pt>
              </c:numCache>
            </c:numRef>
          </c:yVal>
          <c:bubbleSize>
            <c:numRef>
              <c:f>Sheet1!$C$2:$C$9</c:f>
              <c:numCache>
                <c:formatCode>General</c:formatCode>
                <c:ptCount val="8"/>
                <c:pt idx="0">
                  <c:v>27695220</c:v>
                </c:pt>
                <c:pt idx="1">
                  <c:v>9764061</c:v>
                </c:pt>
                <c:pt idx="2">
                  <c:v>9055836</c:v>
                </c:pt>
                <c:pt idx="3">
                  <c:v>7898680</c:v>
                </c:pt>
                <c:pt idx="4">
                  <c:v>5504728</c:v>
                </c:pt>
                <c:pt idx="5">
                  <c:v>2370126</c:v>
                </c:pt>
                <c:pt idx="6">
                  <c:v>1528440</c:v>
                </c:pt>
                <c:pt idx="7">
                  <c:v>10329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Neutrogena</c:v>
                  </c:pt>
                  <c:pt idx="3">
                    <c:v>Banana Boat</c:v>
                  </c:pt>
                  <c:pt idx="4">
                    <c:v>Caribbean Beach</c:v>
                  </c:pt>
                  <c:pt idx="5">
                    <c:v>Isdin</c:v>
                  </c:pt>
                  <c:pt idx="6">
                    <c:v>Nuvel</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3"/>
          <c:min val="5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C7FC450-6427-4D03-8B9C-473E2CA26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23C4586-0D5E-487B-9F87-CDDC1AE4A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EDD01D5-7949-41F4-8AE9-21395E36D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D11A792-5403-47ED-A405-27D65722F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8E5DDB5D-6CAE-4091-BC74-A3EDBE6CF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ACD91C31-7B23-4267-9EC9-ADC41A4A9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AE021A7E-1D17-4957-BD19-4740BB499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1B11E0DD-E376-44E7-94ED-72FCE5723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6.5162</c:v>
                </c:pt>
                <c:pt idx="1">
                  <c:v>182.10589999999999</c:v>
                </c:pt>
                <c:pt idx="2">
                  <c:v>163.6695</c:v>
                </c:pt>
                <c:pt idx="3">
                  <c:v>222.31460000000001</c:v>
                </c:pt>
              </c:numCache>
            </c:numRef>
          </c:xVal>
          <c:yVal>
            <c:numRef>
              <c:f>Sheet1!$B$2:$B$5</c:f>
              <c:numCache>
                <c:formatCode>General</c:formatCode>
                <c:ptCount val="4"/>
                <c:pt idx="0">
                  <c:v>0.96699999999999997</c:v>
                </c:pt>
                <c:pt idx="1">
                  <c:v>0.88700000000000001</c:v>
                </c:pt>
                <c:pt idx="2">
                  <c:v>0.80400000000000005</c:v>
                </c:pt>
                <c:pt idx="3">
                  <c:v>3.1339999999999999</c:v>
                </c:pt>
              </c:numCache>
            </c:numRef>
          </c:yVal>
          <c:bubbleSize>
            <c:numRef>
              <c:f>Sheet1!$C$2:$C$5</c:f>
              <c:numCache>
                <c:formatCode>General</c:formatCode>
                <c:ptCount val="4"/>
                <c:pt idx="0">
                  <c:v>22540199</c:v>
                </c:pt>
                <c:pt idx="1">
                  <c:v>14187871</c:v>
                </c:pt>
                <c:pt idx="2">
                  <c:v>3074204</c:v>
                </c:pt>
                <c:pt idx="3">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7"/>
          <c:min val="1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3562732-1CF6-4301-8B80-20D87CB70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85719D3-F34A-4A1B-8385-BE979F153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28286B1-E581-491E-9560-4308F44EE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9B62DBD-6FF5-4604-878F-D95B132BF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EF2DED9-C83D-4DDD-8DEC-33D31EFED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1E69288-A4D3-4933-A07D-0203D07DB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18008CF-2270-42C3-BD4C-F5AA5B051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4253B7B-4807-44B0-B441-CD261D162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7.91129999999998</c:v>
                </c:pt>
                <c:pt idx="1">
                  <c:v>169.84389999999999</c:v>
                </c:pt>
                <c:pt idx="2">
                  <c:v>136.4699</c:v>
                </c:pt>
                <c:pt idx="3">
                  <c:v>603.70399999999995</c:v>
                </c:pt>
                <c:pt idx="4">
                  <c:v>555.28160000000003</c:v>
                </c:pt>
                <c:pt idx="5">
                  <c:v>513.76520000000005</c:v>
                </c:pt>
              </c:numCache>
            </c:numRef>
          </c:xVal>
          <c:yVal>
            <c:numRef>
              <c:f>Sheet1!$B$2:$B$7</c:f>
              <c:numCache>
                <c:formatCode>General</c:formatCode>
                <c:ptCount val="6"/>
                <c:pt idx="0">
                  <c:v>1.109</c:v>
                </c:pt>
                <c:pt idx="1">
                  <c:v>0.54500000000000004</c:v>
                </c:pt>
                <c:pt idx="2">
                  <c:v>0.33200000000000002</c:v>
                </c:pt>
                <c:pt idx="3">
                  <c:v>1.9319999999999999</c:v>
                </c:pt>
                <c:pt idx="4">
                  <c:v>9.2270000000000003</c:v>
                </c:pt>
                <c:pt idx="5">
                  <c:v>8.5660000000000007</c:v>
                </c:pt>
              </c:numCache>
            </c:numRef>
          </c:yVal>
          <c:bubbleSize>
            <c:numRef>
              <c:f>Sheet1!$C$2:$C$7</c:f>
              <c:numCache>
                <c:formatCode>General</c:formatCode>
                <c:ptCount val="6"/>
                <c:pt idx="0">
                  <c:v>10553829</c:v>
                </c:pt>
                <c:pt idx="1">
                  <c:v>1178207</c:v>
                </c:pt>
                <c:pt idx="2">
                  <c:v>940414</c:v>
                </c:pt>
                <c:pt idx="3">
                  <c:v>868730</c:v>
                </c:pt>
                <c:pt idx="4">
                  <c:v>865684</c:v>
                </c:pt>
                <c:pt idx="5">
                  <c:v>77013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Eucerin</c:v>
                  </c:pt>
                  <c:pt idx="5">
                    <c:v>La Roche-Posay</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4"/>
          <c:min val="10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40A66F3-D41D-490B-924F-A28F0EEE0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814F72A-757D-49E4-A900-3803C3147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B0B278C3-869B-49C6-869D-34BC602F5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7194D999-355F-4052-93D5-F3B62A1E1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17890779-0957-44C8-813E-1E89FDB96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F15E40B4-7849-4349-A6B2-7D95FD093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E148660D-4EE1-4258-A3E1-9BFEBC053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778859B-4BCD-41AA-B6B9-105072423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84100000000001</c:v>
                </c:pt>
                <c:pt idx="1">
                  <c:v>613.18759999999997</c:v>
                </c:pt>
                <c:pt idx="2">
                  <c:v>587.87170000000003</c:v>
                </c:pt>
                <c:pt idx="3">
                  <c:v>525.45579999999995</c:v>
                </c:pt>
                <c:pt idx="4">
                  <c:v>314.7817</c:v>
                </c:pt>
                <c:pt idx="5">
                  <c:v>605.62210000000005</c:v>
                </c:pt>
                <c:pt idx="6">
                  <c:v>268.76769999999999</c:v>
                </c:pt>
              </c:numCache>
            </c:numRef>
          </c:xVal>
          <c:yVal>
            <c:numRef>
              <c:f>Sheet1!$B$2:$B$8</c:f>
              <c:numCache>
                <c:formatCode>General</c:formatCode>
                <c:ptCount val="7"/>
                <c:pt idx="0">
                  <c:v>0.52200000000000002</c:v>
                </c:pt>
                <c:pt idx="1">
                  <c:v>2.4020000000000001</c:v>
                </c:pt>
                <c:pt idx="2">
                  <c:v>2.1539999999999999</c:v>
                </c:pt>
                <c:pt idx="3">
                  <c:v>1.159</c:v>
                </c:pt>
                <c:pt idx="4">
                  <c:v>1.03</c:v>
                </c:pt>
                <c:pt idx="5">
                  <c:v>0</c:v>
                </c:pt>
                <c:pt idx="6">
                  <c:v>0.52600000000000002</c:v>
                </c:pt>
              </c:numCache>
            </c:numRef>
          </c:yVal>
          <c:bubbleSize>
            <c:numRef>
              <c:f>Sheet1!$C$2:$C$8</c:f>
              <c:numCache>
                <c:formatCode>General</c:formatCode>
                <c:ptCount val="7"/>
                <c:pt idx="0">
                  <c:v>1312348</c:v>
                </c:pt>
                <c:pt idx="1">
                  <c:v>1019731</c:v>
                </c:pt>
                <c:pt idx="2">
                  <c:v>888862</c:v>
                </c:pt>
                <c:pt idx="3">
                  <c:v>273237</c:v>
                </c:pt>
                <c:pt idx="4">
                  <c:v>230735</c:v>
                </c:pt>
                <c:pt idx="5">
                  <c:v>104167</c:v>
                </c:pt>
                <c:pt idx="6">
                  <c:v>6826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La Roche-Posay</c:v>
                  </c:pt>
                  <c:pt idx="3">
                    <c:v>Eucerin</c:v>
                  </c:pt>
                  <c:pt idx="4">
                    <c:v>Photoderm</c:v>
                  </c:pt>
                  <c:pt idx="5">
                    <c:v>Avene</c:v>
                  </c:pt>
                  <c:pt idx="6">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
          <c:min val="19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0A6ECE-2728-4FAD-AC71-3BE3E3C50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878DAE-6039-44CC-BE51-7FEA045BE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86C4D7-5733-4843-B49D-A3BF6E13F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3CEDFE-49F5-4666-9BD0-EC0E3C373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1EDC4F-9613-46AD-B3E1-46901C493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B304285-869D-42D6-9174-C349A9464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F17209-6E42-4FCD-A1E1-EA7BBF07E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AEB5D4-58E7-4EC3-A28F-724D33B74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AA4ED2-2547-4144-965A-1148035F5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D3A921-0165-43C3-A935-EFAFB1CAF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D238EC-B88A-4157-8934-F91883F6C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CB4783-B3EF-448F-9A69-10F24C443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03954C-AD7D-433E-B397-E53C7EC2D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CDC37F-BB67-4ED9-B5CC-BD4B36494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515E97-0B70-4336-AD5B-E0BC518EC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DAB7F7-48BA-4E27-89DF-6DA9F38B1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CC05EB2-29E4-4E86-ACBB-DFDFFD6D8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C495EF4-6651-42C7-9218-013B7CE1C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DCC9705-011F-4DB2-BE8C-A4155C3A9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035B811-07A2-4C10-90B8-DDBFBA697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CD4ACC4-97D2-4D07-9CA3-026C41848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0822D2D-3515-4F9D-A7CB-4B0E8AA18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A305030-57AF-4E55-AA11-9A47B2899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318E4C0-A772-4C4F-87A9-12805F872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6/2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462.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4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479.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481.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482.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483.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484.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48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486.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487.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488.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489.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49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6/2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6/2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6/2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6/2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7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7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7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7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7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7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7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7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7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7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7.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8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8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8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8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8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8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8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8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8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8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oleObject" Target="../embeddings/oleObject27.bin"/><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9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9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9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9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9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9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9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9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9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9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20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20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20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20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20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20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20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20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20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20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27.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21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21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21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21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21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21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21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21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21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21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22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22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22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22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22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22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22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22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22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22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1.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23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23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23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23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23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23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23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23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23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23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3.xml"/><Relationship Id="rId5" Type="http://schemas.openxmlformats.org/officeDocument/2006/relationships/chart" Target="../charts/chart42.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24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24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24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24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24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24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24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24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24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2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7.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25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25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25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25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25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25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25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25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25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25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26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26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26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26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26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26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26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26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26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26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3.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2.xml"/><Relationship Id="rId5" Type="http://schemas.openxmlformats.org/officeDocument/2006/relationships/chart" Target="../charts/chart51.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7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7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7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7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7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7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7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7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7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7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55.xml"/><Relationship Id="rId5" Type="http://schemas.openxmlformats.org/officeDocument/2006/relationships/chart" Target="../charts/chart54.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8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8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8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8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8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8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8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8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8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8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9.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9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9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9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9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9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9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9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9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9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9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1.xml"/><Relationship Id="rId5" Type="http://schemas.openxmlformats.org/officeDocument/2006/relationships/chart" Target="../charts/chart60.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30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30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30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30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30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30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30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30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30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30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5.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31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31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31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31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31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31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31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31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31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31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67.xml"/><Relationship Id="rId5" Type="http://schemas.openxmlformats.org/officeDocument/2006/relationships/chart" Target="../charts/chart66.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32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32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32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32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32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32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32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32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32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32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1.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0.xml"/><Relationship Id="rId5" Type="http://schemas.openxmlformats.org/officeDocument/2006/relationships/chart" Target="../charts/chart69.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33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33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33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33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33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33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33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3.xml"/><Relationship Id="rId5" Type="http://schemas.openxmlformats.org/officeDocument/2006/relationships/chart" Target="../charts/chart72.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7.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76.xml"/><Relationship Id="rId5" Type="http://schemas.openxmlformats.org/officeDocument/2006/relationships/chart" Target="../charts/chart75.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xml.rels><?xml version="1.0" encoding="UTF-8" standalone="yes"?>
<Relationships xmlns="http://schemas.openxmlformats.org/package/2006/relationships"><Relationship Id="rId8" Type="http://schemas.openxmlformats.org/officeDocument/2006/relationships/chart" Target="../charts/chart81.xml"/><Relationship Id="rId3" Type="http://schemas.openxmlformats.org/officeDocument/2006/relationships/oleObject" Target="../embeddings/oleObject27.bin"/><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79.xml"/><Relationship Id="rId5" Type="http://schemas.openxmlformats.org/officeDocument/2006/relationships/chart" Target="../charts/chart78.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82.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3.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4.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5.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6.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8.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8" Type="http://schemas.openxmlformats.org/officeDocument/2006/relationships/chart" Target="../charts/chart86.xml"/><Relationship Id="rId3" Type="http://schemas.openxmlformats.org/officeDocument/2006/relationships/oleObject" Target="../embeddings/oleObject27.bin"/><Relationship Id="rId7" Type="http://schemas.openxmlformats.org/officeDocument/2006/relationships/chart" Target="../charts/chart85.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84.xml"/><Relationship Id="rId5" Type="http://schemas.openxmlformats.org/officeDocument/2006/relationships/chart" Target="../charts/chart83.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6.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8.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87.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1.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2.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3.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350.xml"/><Relationship Id="rId6" Type="http://schemas.openxmlformats.org/officeDocument/2006/relationships/chart" Target="../charts/chart3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4.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351.xml"/><Relationship Id="rId6" Type="http://schemas.openxmlformats.org/officeDocument/2006/relationships/chart" Target="../charts/chart3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5.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352.xml"/><Relationship Id="rId6" Type="http://schemas.openxmlformats.org/officeDocument/2006/relationships/chart" Target="../charts/chart3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6.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353.xml"/><Relationship Id="rId6" Type="http://schemas.openxmlformats.org/officeDocument/2006/relationships/chart" Target="../charts/chart3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7.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354.xml"/><Relationship Id="rId6" Type="http://schemas.openxmlformats.org/officeDocument/2006/relationships/chart" Target="../charts/chart3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8.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355.xml"/><Relationship Id="rId6" Type="http://schemas.openxmlformats.org/officeDocument/2006/relationships/chart" Target="../charts/chart3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356.xml"/><Relationship Id="rId6" Type="http://schemas.openxmlformats.org/officeDocument/2006/relationships/chart" Target="../charts/chart3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xml.rels><?xml version="1.0" encoding="UTF-8" standalone="yes"?>
<Relationships xmlns="http://schemas.openxmlformats.org/package/2006/relationships"><Relationship Id="rId8" Type="http://schemas.openxmlformats.org/officeDocument/2006/relationships/chart" Target="../charts/chart91.xml"/><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357.xml"/><Relationship Id="rId6" Type="http://schemas.openxmlformats.org/officeDocument/2006/relationships/chart" Target="../charts/chart3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1.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358.xml"/><Relationship Id="rId6" Type="http://schemas.openxmlformats.org/officeDocument/2006/relationships/chart" Target="../charts/chart3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2.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359.xml"/><Relationship Id="rId6" Type="http://schemas.openxmlformats.org/officeDocument/2006/relationships/chart" Target="../charts/chart3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3.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360.xml"/><Relationship Id="rId6" Type="http://schemas.openxmlformats.org/officeDocument/2006/relationships/chart" Target="../charts/chart3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361.xml"/><Relationship Id="rId6" Type="http://schemas.openxmlformats.org/officeDocument/2006/relationships/chart" Target="../charts/chart3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362.xml"/><Relationship Id="rId6" Type="http://schemas.openxmlformats.org/officeDocument/2006/relationships/chart" Target="../charts/chart3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363.xml"/><Relationship Id="rId6" Type="http://schemas.openxmlformats.org/officeDocument/2006/relationships/chart" Target="../charts/chart3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364.xml"/><Relationship Id="rId6" Type="http://schemas.openxmlformats.org/officeDocument/2006/relationships/chart" Target="../charts/chart3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365.xml"/><Relationship Id="rId6" Type="http://schemas.openxmlformats.org/officeDocument/2006/relationships/chart" Target="../charts/chart3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366.xml"/><Relationship Id="rId6" Type="http://schemas.openxmlformats.org/officeDocument/2006/relationships/chart" Target="../charts/chart3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92.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367.xml"/><Relationship Id="rId6" Type="http://schemas.openxmlformats.org/officeDocument/2006/relationships/chart" Target="../charts/chart3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368.xml"/><Relationship Id="rId6" Type="http://schemas.openxmlformats.org/officeDocument/2006/relationships/chart" Target="../charts/chart3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369.xml"/><Relationship Id="rId6" Type="http://schemas.openxmlformats.org/officeDocument/2006/relationships/chart" Target="../charts/chart3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370.xml"/><Relationship Id="rId6" Type="http://schemas.openxmlformats.org/officeDocument/2006/relationships/chart" Target="../charts/chart3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chart" Target="../charts/chart3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372.xml"/><Relationship Id="rId6" Type="http://schemas.openxmlformats.org/officeDocument/2006/relationships/chart" Target="../charts/chart3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373.xml"/><Relationship Id="rId6" Type="http://schemas.openxmlformats.org/officeDocument/2006/relationships/chart" Target="../charts/chart3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374.xml"/><Relationship Id="rId6" Type="http://schemas.openxmlformats.org/officeDocument/2006/relationships/chart" Target="../charts/chart3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chart" Target="../charts/chart3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376.xml"/><Relationship Id="rId6" Type="http://schemas.openxmlformats.org/officeDocument/2006/relationships/chart" Target="../charts/chart3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xml.rels><?xml version="1.0" encoding="UTF-8" standalone="yes"?>
<Relationships xmlns="http://schemas.openxmlformats.org/package/2006/relationships"><Relationship Id="rId8" Type="http://schemas.openxmlformats.org/officeDocument/2006/relationships/chart" Target="../charts/chart96.xml"/><Relationship Id="rId3" Type="http://schemas.openxmlformats.org/officeDocument/2006/relationships/oleObject" Target="../embeddings/oleObject27.bin"/><Relationship Id="rId7" Type="http://schemas.openxmlformats.org/officeDocument/2006/relationships/chart" Target="../charts/chart9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94.xml"/><Relationship Id="rId5" Type="http://schemas.openxmlformats.org/officeDocument/2006/relationships/chart" Target="../charts/chart93.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377.xml"/><Relationship Id="rId6" Type="http://schemas.openxmlformats.org/officeDocument/2006/relationships/chart" Target="../charts/chart3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378.xml"/><Relationship Id="rId6" Type="http://schemas.openxmlformats.org/officeDocument/2006/relationships/chart" Target="../charts/chart3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379.xml"/><Relationship Id="rId6" Type="http://schemas.openxmlformats.org/officeDocument/2006/relationships/chart" Target="../charts/chart3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380.xml"/><Relationship Id="rId6" Type="http://schemas.openxmlformats.org/officeDocument/2006/relationships/chart" Target="../charts/chart3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381.xml"/><Relationship Id="rId6" Type="http://schemas.openxmlformats.org/officeDocument/2006/relationships/chart" Target="../charts/chart3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382.xml"/><Relationship Id="rId6" Type="http://schemas.openxmlformats.org/officeDocument/2006/relationships/chart" Target="../charts/chart3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383.xml"/><Relationship Id="rId6" Type="http://schemas.openxmlformats.org/officeDocument/2006/relationships/chart" Target="../charts/chart3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384.xml"/><Relationship Id="rId6" Type="http://schemas.openxmlformats.org/officeDocument/2006/relationships/chart" Target="../charts/chart3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385.xml"/><Relationship Id="rId6" Type="http://schemas.openxmlformats.org/officeDocument/2006/relationships/chart" Target="../charts/chart3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386.xml"/><Relationship Id="rId6" Type="http://schemas.openxmlformats.org/officeDocument/2006/relationships/chart" Target="../charts/chart3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97.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387.xml"/><Relationship Id="rId6" Type="http://schemas.openxmlformats.org/officeDocument/2006/relationships/chart" Target="../charts/chart3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388.xml"/><Relationship Id="rId6" Type="http://schemas.openxmlformats.org/officeDocument/2006/relationships/chart" Target="../charts/chart3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389.xml"/><Relationship Id="rId6" Type="http://schemas.openxmlformats.org/officeDocument/2006/relationships/chart" Target="../charts/chart3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390.xml"/><Relationship Id="rId6" Type="http://schemas.openxmlformats.org/officeDocument/2006/relationships/chart" Target="../charts/chart3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391.xml"/><Relationship Id="rId6" Type="http://schemas.openxmlformats.org/officeDocument/2006/relationships/chart" Target="../charts/chart3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392.xml"/><Relationship Id="rId6" Type="http://schemas.openxmlformats.org/officeDocument/2006/relationships/chart" Target="../charts/chart3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393.xml"/><Relationship Id="rId6" Type="http://schemas.openxmlformats.org/officeDocument/2006/relationships/chart" Target="../charts/chart3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394.xml"/><Relationship Id="rId6" Type="http://schemas.openxmlformats.org/officeDocument/2006/relationships/chart" Target="../charts/chart3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395.xml"/><Relationship Id="rId6" Type="http://schemas.openxmlformats.org/officeDocument/2006/relationships/chart" Target="../charts/chart3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396.xml"/><Relationship Id="rId6" Type="http://schemas.openxmlformats.org/officeDocument/2006/relationships/chart" Target="../charts/chart3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oleObject" Target="../embeddings/oleObject27.bin"/><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99.xml"/><Relationship Id="rId5" Type="http://schemas.openxmlformats.org/officeDocument/2006/relationships/chart" Target="../charts/chart98.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397.xml"/><Relationship Id="rId6" Type="http://schemas.openxmlformats.org/officeDocument/2006/relationships/chart" Target="../charts/chart3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398.xml"/><Relationship Id="rId6" Type="http://schemas.openxmlformats.org/officeDocument/2006/relationships/chart" Target="../charts/chart3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chart" Target="../charts/chart3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400.xml"/><Relationship Id="rId6" Type="http://schemas.openxmlformats.org/officeDocument/2006/relationships/chart" Target="../charts/chart3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401.xml"/><Relationship Id="rId6" Type="http://schemas.openxmlformats.org/officeDocument/2006/relationships/chart" Target="../charts/chart3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402.xml"/><Relationship Id="rId6" Type="http://schemas.openxmlformats.org/officeDocument/2006/relationships/chart" Target="../charts/chart3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403.xml"/><Relationship Id="rId6" Type="http://schemas.openxmlformats.org/officeDocument/2006/relationships/chart" Target="../charts/chart3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404.xml"/><Relationship Id="rId6" Type="http://schemas.openxmlformats.org/officeDocument/2006/relationships/chart" Target="../charts/chart3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405.xml"/><Relationship Id="rId6" Type="http://schemas.openxmlformats.org/officeDocument/2006/relationships/chart" Target="../charts/chart3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406.xml"/><Relationship Id="rId6" Type="http://schemas.openxmlformats.org/officeDocument/2006/relationships/chart" Target="../charts/chart3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102.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407.xml"/><Relationship Id="rId6" Type="http://schemas.openxmlformats.org/officeDocument/2006/relationships/chart" Target="../charts/chart3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408.xml"/><Relationship Id="rId6" Type="http://schemas.openxmlformats.org/officeDocument/2006/relationships/chart" Target="../charts/chart3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409.xml"/><Relationship Id="rId6" Type="http://schemas.openxmlformats.org/officeDocument/2006/relationships/chart" Target="../charts/chart3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410.xml"/><Relationship Id="rId6" Type="http://schemas.openxmlformats.org/officeDocument/2006/relationships/chart" Target="../charts/chart3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411.xml"/><Relationship Id="rId6" Type="http://schemas.openxmlformats.org/officeDocument/2006/relationships/chart" Target="../charts/chart3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412.xml"/><Relationship Id="rId6" Type="http://schemas.openxmlformats.org/officeDocument/2006/relationships/chart" Target="../charts/chart3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413.xml"/><Relationship Id="rId6" Type="http://schemas.openxmlformats.org/officeDocument/2006/relationships/chart" Target="../charts/chart4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414.xml"/><Relationship Id="rId6" Type="http://schemas.openxmlformats.org/officeDocument/2006/relationships/chart" Target="../charts/chart4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415.xml"/><Relationship Id="rId6" Type="http://schemas.openxmlformats.org/officeDocument/2006/relationships/chart" Target="../charts/chart4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416.xml"/><Relationship Id="rId6" Type="http://schemas.openxmlformats.org/officeDocument/2006/relationships/chart" Target="../charts/chart4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8" Type="http://schemas.openxmlformats.org/officeDocument/2006/relationships/chart" Target="../charts/chart106.xml"/><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417.xml"/><Relationship Id="rId6" Type="http://schemas.openxmlformats.org/officeDocument/2006/relationships/chart" Target="../charts/chart4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418.xml"/><Relationship Id="rId6" Type="http://schemas.openxmlformats.org/officeDocument/2006/relationships/chart" Target="../charts/chart4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419.xml"/><Relationship Id="rId6" Type="http://schemas.openxmlformats.org/officeDocument/2006/relationships/chart" Target="../charts/chart4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420.xml"/><Relationship Id="rId6" Type="http://schemas.openxmlformats.org/officeDocument/2006/relationships/chart" Target="../charts/chart4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421.xml"/><Relationship Id="rId6" Type="http://schemas.openxmlformats.org/officeDocument/2006/relationships/chart" Target="../charts/chart4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422.xml"/><Relationship Id="rId6" Type="http://schemas.openxmlformats.org/officeDocument/2006/relationships/chart" Target="../charts/chart4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423.xml"/><Relationship Id="rId6" Type="http://schemas.openxmlformats.org/officeDocument/2006/relationships/chart" Target="../charts/chart4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424.xml"/><Relationship Id="rId6" Type="http://schemas.openxmlformats.org/officeDocument/2006/relationships/chart" Target="../charts/chart4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425.xml"/><Relationship Id="rId6" Type="http://schemas.openxmlformats.org/officeDocument/2006/relationships/chart" Target="../charts/chart4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426.xml"/><Relationship Id="rId6" Type="http://schemas.openxmlformats.org/officeDocument/2006/relationships/chart" Target="../charts/chart4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107.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427.xml"/><Relationship Id="rId6" Type="http://schemas.openxmlformats.org/officeDocument/2006/relationships/chart" Target="../charts/chart4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428.xml"/><Relationship Id="rId6" Type="http://schemas.openxmlformats.org/officeDocument/2006/relationships/chart" Target="../charts/chart4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429.xml"/><Relationship Id="rId6" Type="http://schemas.openxmlformats.org/officeDocument/2006/relationships/chart" Target="../charts/chart4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430.xml"/><Relationship Id="rId6" Type="http://schemas.openxmlformats.org/officeDocument/2006/relationships/chart" Target="../charts/chart4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431.xml"/><Relationship Id="rId6" Type="http://schemas.openxmlformats.org/officeDocument/2006/relationships/chart" Target="../charts/chart4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432.xml"/><Relationship Id="rId6" Type="http://schemas.openxmlformats.org/officeDocument/2006/relationships/chart" Target="../charts/chart4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433.xml"/><Relationship Id="rId6" Type="http://schemas.openxmlformats.org/officeDocument/2006/relationships/chart" Target="../charts/chart4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434.xml"/><Relationship Id="rId6" Type="http://schemas.openxmlformats.org/officeDocument/2006/relationships/chart" Target="../charts/chart4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435.xml"/><Relationship Id="rId6" Type="http://schemas.openxmlformats.org/officeDocument/2006/relationships/chart" Target="../charts/chart4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09.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436.xml"/><Relationship Id="rId6" Type="http://schemas.openxmlformats.org/officeDocument/2006/relationships/chart" Target="../charts/chart4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8" Type="http://schemas.openxmlformats.org/officeDocument/2006/relationships/chart" Target="../charts/chart111.xml"/><Relationship Id="rId3" Type="http://schemas.openxmlformats.org/officeDocument/2006/relationships/oleObject" Target="../embeddings/oleObject27.bin"/><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09.xml"/><Relationship Id="rId5" Type="http://schemas.openxmlformats.org/officeDocument/2006/relationships/chart" Target="../charts/chart108.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437.xml"/><Relationship Id="rId6" Type="http://schemas.openxmlformats.org/officeDocument/2006/relationships/chart" Target="../charts/chart4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438.xml"/><Relationship Id="rId6" Type="http://schemas.openxmlformats.org/officeDocument/2006/relationships/chart" Target="../charts/chart4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439.xml"/><Relationship Id="rId6" Type="http://schemas.openxmlformats.org/officeDocument/2006/relationships/chart" Target="../charts/chart4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440.xml"/><Relationship Id="rId6" Type="http://schemas.openxmlformats.org/officeDocument/2006/relationships/chart" Target="../charts/chart4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4.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441.xml"/><Relationship Id="rId6" Type="http://schemas.openxmlformats.org/officeDocument/2006/relationships/chart" Target="../charts/chart4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442.xml"/><Relationship Id="rId6" Type="http://schemas.openxmlformats.org/officeDocument/2006/relationships/chart" Target="../charts/chart4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443.xml"/><Relationship Id="rId6" Type="http://schemas.openxmlformats.org/officeDocument/2006/relationships/chart" Target="../charts/chart4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444.xml"/><Relationship Id="rId6" Type="http://schemas.openxmlformats.org/officeDocument/2006/relationships/chart" Target="../charts/chart4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445.xml"/><Relationship Id="rId6" Type="http://schemas.openxmlformats.org/officeDocument/2006/relationships/chart" Target="../charts/chart4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446.xml"/><Relationship Id="rId6" Type="http://schemas.openxmlformats.org/officeDocument/2006/relationships/chart" Target="../charts/chart4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11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447.xml"/><Relationship Id="rId6" Type="http://schemas.openxmlformats.org/officeDocument/2006/relationships/chart" Target="../charts/chart4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448.xml"/><Relationship Id="rId6" Type="http://schemas.openxmlformats.org/officeDocument/2006/relationships/chart" Target="../charts/chart4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449.xml"/><Relationship Id="rId6" Type="http://schemas.openxmlformats.org/officeDocument/2006/relationships/chart" Target="../charts/chart4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450.xml"/><Relationship Id="rId6" Type="http://schemas.openxmlformats.org/officeDocument/2006/relationships/chart" Target="../charts/chart4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451.xml"/><Relationship Id="rId6" Type="http://schemas.openxmlformats.org/officeDocument/2006/relationships/chart" Target="../charts/chart4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452.xml"/><Relationship Id="rId6" Type="http://schemas.openxmlformats.org/officeDocument/2006/relationships/chart" Target="../charts/chart4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453.xml"/><Relationship Id="rId6" Type="http://schemas.openxmlformats.org/officeDocument/2006/relationships/chart" Target="../charts/chart4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454.xml"/><Relationship Id="rId6" Type="http://schemas.openxmlformats.org/officeDocument/2006/relationships/chart" Target="../charts/chart4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455.xml"/><Relationship Id="rId6" Type="http://schemas.openxmlformats.org/officeDocument/2006/relationships/chart" Target="../charts/chart4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456.xml"/><Relationship Id="rId6" Type="http://schemas.openxmlformats.org/officeDocument/2006/relationships/chart" Target="../charts/chart4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11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457.xml"/><Relationship Id="rId6" Type="http://schemas.openxmlformats.org/officeDocument/2006/relationships/chart" Target="../charts/chart4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7.xml"/><Relationship Id="rId1" Type="http://schemas.openxmlformats.org/officeDocument/2006/relationships/tags" Target="../tags/tag458.xml"/><Relationship Id="rId6" Type="http://schemas.openxmlformats.org/officeDocument/2006/relationships/chart" Target="../charts/chart4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7.xml"/><Relationship Id="rId1" Type="http://schemas.openxmlformats.org/officeDocument/2006/relationships/tags" Target="../tags/tag459.xml"/><Relationship Id="rId6" Type="http://schemas.openxmlformats.org/officeDocument/2006/relationships/chart" Target="../charts/chart4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7.xml"/><Relationship Id="rId1" Type="http://schemas.openxmlformats.org/officeDocument/2006/relationships/tags" Target="../tags/tag460.xml"/><Relationship Id="rId6" Type="http://schemas.openxmlformats.org/officeDocument/2006/relationships/chart" Target="../charts/chart4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7.xml"/><Relationship Id="rId1" Type="http://schemas.openxmlformats.org/officeDocument/2006/relationships/tags" Target="../tags/tag461.xml"/><Relationship Id="rId6" Type="http://schemas.openxmlformats.org/officeDocument/2006/relationships/chart" Target="../charts/chart4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7.xml"/><Relationship Id="rId1" Type="http://schemas.openxmlformats.org/officeDocument/2006/relationships/tags" Target="../tags/tag462.xml"/><Relationship Id="rId6" Type="http://schemas.openxmlformats.org/officeDocument/2006/relationships/chart" Target="../charts/chart4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7.xml"/><Relationship Id="rId1" Type="http://schemas.openxmlformats.org/officeDocument/2006/relationships/tags" Target="../tags/tag463.xml"/><Relationship Id="rId6" Type="http://schemas.openxmlformats.org/officeDocument/2006/relationships/chart" Target="../charts/chart4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7.xml"/><Relationship Id="rId1" Type="http://schemas.openxmlformats.org/officeDocument/2006/relationships/tags" Target="../tags/tag464.xml"/><Relationship Id="rId6" Type="http://schemas.openxmlformats.org/officeDocument/2006/relationships/chart" Target="../charts/chart4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7.xml"/><Relationship Id="rId1" Type="http://schemas.openxmlformats.org/officeDocument/2006/relationships/tags" Target="../tags/tag465.xml"/><Relationship Id="rId6" Type="http://schemas.openxmlformats.org/officeDocument/2006/relationships/chart" Target="../charts/chart4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7.xml"/><Relationship Id="rId1" Type="http://schemas.openxmlformats.org/officeDocument/2006/relationships/tags" Target="../tags/tag466.xml"/><Relationship Id="rId6" Type="http://schemas.openxmlformats.org/officeDocument/2006/relationships/chart" Target="../charts/chart4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11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7.xml"/><Relationship Id="rId1" Type="http://schemas.openxmlformats.org/officeDocument/2006/relationships/tags" Target="../tags/tag467.xml"/><Relationship Id="rId6" Type="http://schemas.openxmlformats.org/officeDocument/2006/relationships/chart" Target="../charts/chart4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7.xml"/><Relationship Id="rId1" Type="http://schemas.openxmlformats.org/officeDocument/2006/relationships/tags" Target="../tags/tag468.xml"/><Relationship Id="rId6" Type="http://schemas.openxmlformats.org/officeDocument/2006/relationships/chart" Target="../charts/chart4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7.xml"/><Relationship Id="rId1" Type="http://schemas.openxmlformats.org/officeDocument/2006/relationships/tags" Target="../tags/tag469.xml"/><Relationship Id="rId6" Type="http://schemas.openxmlformats.org/officeDocument/2006/relationships/chart" Target="../charts/chart4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470.xml"/><Relationship Id="rId6" Type="http://schemas.openxmlformats.org/officeDocument/2006/relationships/chart" Target="../charts/chart4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7.xml"/><Relationship Id="rId1" Type="http://schemas.openxmlformats.org/officeDocument/2006/relationships/tags" Target="../tags/tag471.xml"/><Relationship Id="rId6" Type="http://schemas.openxmlformats.org/officeDocument/2006/relationships/chart" Target="../charts/chart4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7.xml"/><Relationship Id="rId1" Type="http://schemas.openxmlformats.org/officeDocument/2006/relationships/tags" Target="../tags/tag472.xml"/><Relationship Id="rId6" Type="http://schemas.openxmlformats.org/officeDocument/2006/relationships/chart" Target="../charts/chart4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7.xml"/><Relationship Id="rId1" Type="http://schemas.openxmlformats.org/officeDocument/2006/relationships/tags" Target="../tags/tag473.xml"/><Relationship Id="rId6" Type="http://schemas.openxmlformats.org/officeDocument/2006/relationships/chart" Target="../charts/chart4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7.xml"/><Relationship Id="rId1" Type="http://schemas.openxmlformats.org/officeDocument/2006/relationships/tags" Target="../tags/tag474.xml"/><Relationship Id="rId6" Type="http://schemas.openxmlformats.org/officeDocument/2006/relationships/chart" Target="../charts/chart4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7.xml"/><Relationship Id="rId1" Type="http://schemas.openxmlformats.org/officeDocument/2006/relationships/tags" Target="../tags/tag475.xml"/><Relationship Id="rId6" Type="http://schemas.openxmlformats.org/officeDocument/2006/relationships/chart" Target="../charts/chart4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7.xml"/><Relationship Id="rId1" Type="http://schemas.openxmlformats.org/officeDocument/2006/relationships/tags" Target="../tags/tag476.xml"/><Relationship Id="rId6" Type="http://schemas.openxmlformats.org/officeDocument/2006/relationships/chart" Target="../charts/chart4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11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7.xml"/><Relationship Id="rId1" Type="http://schemas.openxmlformats.org/officeDocument/2006/relationships/tags" Target="../tags/tag477.xml"/><Relationship Id="rId6" Type="http://schemas.openxmlformats.org/officeDocument/2006/relationships/chart" Target="../charts/chart4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7.xml"/><Relationship Id="rId1" Type="http://schemas.openxmlformats.org/officeDocument/2006/relationships/tags" Target="../tags/tag478.xml"/><Relationship Id="rId6" Type="http://schemas.openxmlformats.org/officeDocument/2006/relationships/chart" Target="../charts/chart4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7.xml"/><Relationship Id="rId1" Type="http://schemas.openxmlformats.org/officeDocument/2006/relationships/tags" Target="../tags/tag479.xml"/><Relationship Id="rId6" Type="http://schemas.openxmlformats.org/officeDocument/2006/relationships/chart" Target="../charts/chart4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7.xml"/><Relationship Id="rId1" Type="http://schemas.openxmlformats.org/officeDocument/2006/relationships/tags" Target="../tags/tag480.xml"/><Relationship Id="rId6" Type="http://schemas.openxmlformats.org/officeDocument/2006/relationships/chart" Target="../charts/chart4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7.xml"/><Relationship Id="rId1" Type="http://schemas.openxmlformats.org/officeDocument/2006/relationships/tags" Target="../tags/tag481.xml"/><Relationship Id="rId6" Type="http://schemas.openxmlformats.org/officeDocument/2006/relationships/chart" Target="../charts/chart4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7.xml"/><Relationship Id="rId1" Type="http://schemas.openxmlformats.org/officeDocument/2006/relationships/tags" Target="../tags/tag482.xml"/><Relationship Id="rId6" Type="http://schemas.openxmlformats.org/officeDocument/2006/relationships/chart" Target="../charts/chart4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7.xml"/><Relationship Id="rId1" Type="http://schemas.openxmlformats.org/officeDocument/2006/relationships/tags" Target="../tags/tag483.xml"/><Relationship Id="rId6" Type="http://schemas.openxmlformats.org/officeDocument/2006/relationships/chart" Target="../charts/chart4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7.xml"/><Relationship Id="rId1" Type="http://schemas.openxmlformats.org/officeDocument/2006/relationships/tags" Target="../tags/tag484.xml"/><Relationship Id="rId6" Type="http://schemas.openxmlformats.org/officeDocument/2006/relationships/chart" Target="../charts/chart4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7.xml"/><Relationship Id="rId1" Type="http://schemas.openxmlformats.org/officeDocument/2006/relationships/tags" Target="../tags/tag485.xml"/><Relationship Id="rId6" Type="http://schemas.openxmlformats.org/officeDocument/2006/relationships/chart" Target="../charts/chart4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7.xml"/><Relationship Id="rId1" Type="http://schemas.openxmlformats.org/officeDocument/2006/relationships/tags" Target="../tags/tag486.xml"/><Relationship Id="rId6" Type="http://schemas.openxmlformats.org/officeDocument/2006/relationships/chart" Target="../charts/chart4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11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7.xml"/><Relationship Id="rId1" Type="http://schemas.openxmlformats.org/officeDocument/2006/relationships/tags" Target="../tags/tag487.xml"/><Relationship Id="rId6" Type="http://schemas.openxmlformats.org/officeDocument/2006/relationships/chart" Target="../charts/chart4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1.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7.xml"/><Relationship Id="rId1" Type="http://schemas.openxmlformats.org/officeDocument/2006/relationships/tags" Target="../tags/tag488.xml"/><Relationship Id="rId6" Type="http://schemas.openxmlformats.org/officeDocument/2006/relationships/chart" Target="../charts/chart4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2.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7.xml"/><Relationship Id="rId1" Type="http://schemas.openxmlformats.org/officeDocument/2006/relationships/tags" Target="../tags/tag489.xml"/><Relationship Id="rId6" Type="http://schemas.openxmlformats.org/officeDocument/2006/relationships/chart" Target="../charts/chart4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3.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7.xml"/><Relationship Id="rId1" Type="http://schemas.openxmlformats.org/officeDocument/2006/relationships/tags" Target="../tags/tag490.xml"/><Relationship Id="rId6" Type="http://schemas.openxmlformats.org/officeDocument/2006/relationships/chart" Target="../charts/chart4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4.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7.xml"/><Relationship Id="rId1" Type="http://schemas.openxmlformats.org/officeDocument/2006/relationships/tags" Target="../tags/tag491.xml"/><Relationship Id="rId6" Type="http://schemas.openxmlformats.org/officeDocument/2006/relationships/chart" Target="../charts/chart4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5.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7.xml"/><Relationship Id="rId1" Type="http://schemas.openxmlformats.org/officeDocument/2006/relationships/tags" Target="../tags/tag492.xml"/><Relationship Id="rId6" Type="http://schemas.openxmlformats.org/officeDocument/2006/relationships/chart" Target="../charts/chart4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6.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7.xml"/><Relationship Id="rId1" Type="http://schemas.openxmlformats.org/officeDocument/2006/relationships/tags" Target="../tags/tag493.xml"/><Relationship Id="rId6" Type="http://schemas.openxmlformats.org/officeDocument/2006/relationships/chart" Target="../charts/chart4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7.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7.xml"/><Relationship Id="rId1" Type="http://schemas.openxmlformats.org/officeDocument/2006/relationships/tags" Target="../tags/tag494.xml"/><Relationship Id="rId6" Type="http://schemas.openxmlformats.org/officeDocument/2006/relationships/chart" Target="../charts/chart4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8.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7.xml"/><Relationship Id="rId1" Type="http://schemas.openxmlformats.org/officeDocument/2006/relationships/tags" Target="../tags/tag495.xml"/><Relationship Id="rId6" Type="http://schemas.openxmlformats.org/officeDocument/2006/relationships/chart" Target="../charts/chart4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69.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7.xml"/><Relationship Id="rId1" Type="http://schemas.openxmlformats.org/officeDocument/2006/relationships/tags" Target="../tags/tag496.xml"/><Relationship Id="rId6" Type="http://schemas.openxmlformats.org/officeDocument/2006/relationships/chart" Target="../charts/chart4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11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7.xml"/><Relationship Id="rId1" Type="http://schemas.openxmlformats.org/officeDocument/2006/relationships/tags" Target="../tags/tag497.xml"/><Relationship Id="rId6" Type="http://schemas.openxmlformats.org/officeDocument/2006/relationships/chart" Target="../charts/chart4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1.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7.xml"/><Relationship Id="rId1" Type="http://schemas.openxmlformats.org/officeDocument/2006/relationships/tags" Target="../tags/tag498.xml"/><Relationship Id="rId6" Type="http://schemas.openxmlformats.org/officeDocument/2006/relationships/chart" Target="../charts/chart4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2.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7.xml"/><Relationship Id="rId1" Type="http://schemas.openxmlformats.org/officeDocument/2006/relationships/tags" Target="../tags/tag499.xml"/><Relationship Id="rId6" Type="http://schemas.openxmlformats.org/officeDocument/2006/relationships/chart" Target="../charts/chart4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3.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7.xml"/><Relationship Id="rId1" Type="http://schemas.openxmlformats.org/officeDocument/2006/relationships/tags" Target="../tags/tag500.xml"/><Relationship Id="rId6" Type="http://schemas.openxmlformats.org/officeDocument/2006/relationships/chart" Target="../charts/chart4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4.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7.xml"/><Relationship Id="rId1" Type="http://schemas.openxmlformats.org/officeDocument/2006/relationships/tags" Target="../tags/tag501.xml"/><Relationship Id="rId6" Type="http://schemas.openxmlformats.org/officeDocument/2006/relationships/chart" Target="../charts/chart4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5.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7.xml"/><Relationship Id="rId1" Type="http://schemas.openxmlformats.org/officeDocument/2006/relationships/tags" Target="../tags/tag502.xml"/><Relationship Id="rId6" Type="http://schemas.openxmlformats.org/officeDocument/2006/relationships/chart" Target="../charts/chart4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6.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7.xml"/><Relationship Id="rId1" Type="http://schemas.openxmlformats.org/officeDocument/2006/relationships/tags" Target="../tags/tag503.xml"/><Relationship Id="rId6" Type="http://schemas.openxmlformats.org/officeDocument/2006/relationships/chart" Target="../charts/chart4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7.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7.xml"/><Relationship Id="rId1" Type="http://schemas.openxmlformats.org/officeDocument/2006/relationships/tags" Target="../tags/tag504.xml"/><Relationship Id="rId6" Type="http://schemas.openxmlformats.org/officeDocument/2006/relationships/chart" Target="../charts/chart4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8.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7.xml"/><Relationship Id="rId1" Type="http://schemas.openxmlformats.org/officeDocument/2006/relationships/tags" Target="../tags/tag505.xml"/><Relationship Id="rId6" Type="http://schemas.openxmlformats.org/officeDocument/2006/relationships/chart" Target="../charts/chart4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79.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7.xml"/><Relationship Id="rId1" Type="http://schemas.openxmlformats.org/officeDocument/2006/relationships/tags" Target="../tags/tag506.xml"/><Relationship Id="rId6" Type="http://schemas.openxmlformats.org/officeDocument/2006/relationships/chart" Target="../charts/chart4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11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7.xml"/><Relationship Id="rId1" Type="http://schemas.openxmlformats.org/officeDocument/2006/relationships/tags" Target="../tags/tag507.xml"/><Relationship Id="rId6" Type="http://schemas.openxmlformats.org/officeDocument/2006/relationships/chart" Target="../charts/chart4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1.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7.xml"/><Relationship Id="rId1" Type="http://schemas.openxmlformats.org/officeDocument/2006/relationships/tags" Target="../tags/tag508.xml"/><Relationship Id="rId6" Type="http://schemas.openxmlformats.org/officeDocument/2006/relationships/chart" Target="../charts/chart4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2.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7.xml"/><Relationship Id="rId1" Type="http://schemas.openxmlformats.org/officeDocument/2006/relationships/tags" Target="../tags/tag509.xml"/><Relationship Id="rId6" Type="http://schemas.openxmlformats.org/officeDocument/2006/relationships/chart" Target="../charts/chart4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3.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7.xml"/><Relationship Id="rId1" Type="http://schemas.openxmlformats.org/officeDocument/2006/relationships/tags" Target="../tags/tag510.xml"/><Relationship Id="rId6" Type="http://schemas.openxmlformats.org/officeDocument/2006/relationships/chart" Target="../charts/chart4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4.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7.xml"/><Relationship Id="rId1" Type="http://schemas.openxmlformats.org/officeDocument/2006/relationships/tags" Target="../tags/tag511.xml"/><Relationship Id="rId6" Type="http://schemas.openxmlformats.org/officeDocument/2006/relationships/chart" Target="../charts/chart4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5.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7.xml"/><Relationship Id="rId1" Type="http://schemas.openxmlformats.org/officeDocument/2006/relationships/tags" Target="../tags/tag512.xml"/><Relationship Id="rId6" Type="http://schemas.openxmlformats.org/officeDocument/2006/relationships/chart" Target="../charts/chart4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6.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7.xml"/><Relationship Id="rId1" Type="http://schemas.openxmlformats.org/officeDocument/2006/relationships/tags" Target="../tags/tag513.xml"/><Relationship Id="rId6" Type="http://schemas.openxmlformats.org/officeDocument/2006/relationships/chart" Target="../charts/chart5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7.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7.xml"/><Relationship Id="rId1" Type="http://schemas.openxmlformats.org/officeDocument/2006/relationships/tags" Target="../tags/tag514.xml"/><Relationship Id="rId6" Type="http://schemas.openxmlformats.org/officeDocument/2006/relationships/chart" Target="../charts/chart5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8.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7.xml"/><Relationship Id="rId1" Type="http://schemas.openxmlformats.org/officeDocument/2006/relationships/tags" Target="../tags/tag515.xml"/><Relationship Id="rId6" Type="http://schemas.openxmlformats.org/officeDocument/2006/relationships/chart" Target="../charts/chart5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89.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7.xml"/><Relationship Id="rId1" Type="http://schemas.openxmlformats.org/officeDocument/2006/relationships/tags" Target="../tags/tag516.xml"/><Relationship Id="rId6" Type="http://schemas.openxmlformats.org/officeDocument/2006/relationships/chart" Target="../charts/chart5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11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7.xml"/><Relationship Id="rId1" Type="http://schemas.openxmlformats.org/officeDocument/2006/relationships/tags" Target="../tags/tag517.xml"/><Relationship Id="rId6" Type="http://schemas.openxmlformats.org/officeDocument/2006/relationships/chart" Target="../charts/chart5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12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12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12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12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12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12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12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12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12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12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13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13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13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13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13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13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13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13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13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13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14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14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14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14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14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14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14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14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14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14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oleObject" Target="../embeddings/oleObject27.bin"/><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15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15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15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15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15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15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1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15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15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15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oleObject" Target="../embeddings/oleObject27.bin"/><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16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16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16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16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16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16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16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16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16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16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73169562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552230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North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64754915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30670449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83274968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13293701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998451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01041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49190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5508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458887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975480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893609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9390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30205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46273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05138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90628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1862694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59263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02822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10771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209838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41433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840205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97443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06510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Southeas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87290908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8041121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68475992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67071352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024652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66903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79648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253922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30386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60853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746079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24740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313649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3650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3357041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26939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999528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093087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511783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68815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05526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76634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928875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72687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3355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Bají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29692673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39029424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54157746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2988700"/>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6939868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00399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30487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763047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564234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80556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710030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96994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988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09573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366692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12783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476036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48859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0818464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03598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0191975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309324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993922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82072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91647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Wes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39559245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5540207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50851324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32660210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7216355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7103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9174411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42892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4441351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45709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821069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099479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057222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27140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08386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65583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319963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23749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722029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393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4076060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2140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265371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760713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9817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Center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99764194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67255605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21915674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17070555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2750293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4438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4940116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046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494751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77707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123811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01169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92700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26069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98805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1378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9116997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29954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277177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2571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292137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484377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101149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83678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23882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2823307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57743444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32921206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67877509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85606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2927687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740623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381291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23261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518242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95153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105207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239765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356087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85706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5900383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63734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150052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66923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8633766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72787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634617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Bají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68387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12046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South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31845907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67628450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01899026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4295818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27548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5728228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Cente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75547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7225869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64067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982072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60265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192339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20244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612630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04575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067810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89514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922752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69441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18927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06499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192673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26932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1489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North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30221074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85665618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24939581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6932675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731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925106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5365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6599636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86751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816441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98709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4210886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77883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00911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86339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55431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31783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464107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335290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260339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19562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024040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94664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27782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Southea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7306072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90112063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97923281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4494037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01533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4029815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9641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184181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565473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005333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3250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117530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308391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689822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92235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452371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70176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417734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53477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659174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253864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7479551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7478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482939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Bajío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57208956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90031693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89438221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6281504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108351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9320348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3709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427469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407133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532050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73381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223413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589568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9728561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23135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313447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38406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8840802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54216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766765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0460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484213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47762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7369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South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45359426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484631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We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40355741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85129496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93055474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2330320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16133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531501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59531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8882196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505461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069279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16866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94494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030707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117249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26136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577636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212089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088710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9312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579327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92798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754739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48452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3014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Center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7291941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58426293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1281490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70083772"/>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19273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9995733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42684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6637878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79100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161903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47024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400346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01606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82811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25007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251371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33258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620763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09370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847666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51730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273509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69385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06911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56296939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31964874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52615884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5152945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630491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0500477"/>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1540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880282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481018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535824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04974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0055958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546083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4470644"/>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66985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381775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8859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03281085"/>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74167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8972776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39938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770672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330738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30654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South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89917772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16337646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50542694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9565989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33669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2264891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20255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825526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30714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82201634"/>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241152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407738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4074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590260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85859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044930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58140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848454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76536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9322357"/>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27678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9803555"/>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78319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65599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North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16599626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22329593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408332143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2927278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03084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7315198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03212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389494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26968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2267576"/>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18680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4591892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66221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251621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77146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1527874"/>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08313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455860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73340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4139909"/>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798073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8255378"/>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05442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56027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Southea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73082259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49510829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3115968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5321672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435321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4433111"/>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086245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9354894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86328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174666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949196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874924"/>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2666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437606"/>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65953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5961658"/>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61274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635163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19609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422401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38194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425585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26353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4514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Bajío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83054987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10401252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66405651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6183065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96305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846086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8073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132590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40663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324103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31909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6944915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66894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55145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76933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9774312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0612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41241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7.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1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6370535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8.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18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9.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43627814"/>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5.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anded Pack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5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8.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8.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After Su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82926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We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1243557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12080068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69029985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63735659"/>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0532628"/>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7.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6.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2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35.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21051446"/>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7.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7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73860416"/>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7.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8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13432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8.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5237252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8.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0.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0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7.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4807472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8.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9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7630376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8.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74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8.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40249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7.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0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0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7.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4033864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0.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3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0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5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228379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Center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28066225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75520193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75216616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40835779"/>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9.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0.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10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40.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29361395"/>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8.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9.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9.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21507440"/>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7.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6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0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7.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5151561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4.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9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07.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6577945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7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5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3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7.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3735611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7.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0.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88.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2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8.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7.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0.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28821802"/>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2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0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6.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7210129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5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1829959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8.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0.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8.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20555216"/>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7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8.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7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9.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7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9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2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134804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28247809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98918190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07650361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88028006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tc>
                  <a:txBody>
                    <a:bodyPr/>
                    <a:lstStyle/>
                    <a:p>
                      <a:pPr algn="ctr">
                        <a:defRPr sz="1100">
                          <a:latin typeface="Nexa Book"/>
                        </a:defRPr>
                      </a:pPr>
                      <a:r>
                        <a:rPr b="1">
                          <a:solidFill>
                            <a:srgbClr val="575555"/>
                          </a:solidFill>
                        </a:rPr>
                        <a:t>No Spray Liquido</a:t>
                      </a:r>
                    </a:p>
                  </a:txBody>
                  <a:tcPr anchor="ctr">
                    <a:solidFill>
                      <a:schemeClr val="bg2"/>
                    </a:solidFill>
                  </a:tcPr>
                </a:tc>
                <a:tc>
                  <a:txBody>
                    <a:bodyPr/>
                    <a:lstStyle/>
                    <a:p>
                      <a:pPr algn="ctr">
                        <a:defRPr sz="1100">
                          <a:latin typeface="Nexa Book"/>
                        </a:defRPr>
                      </a:pPr>
                      <a:r>
                        <a:rPr b="1">
                          <a:solidFill>
                            <a:srgbClr val="575555"/>
                          </a:solidFill>
                        </a:rPr>
                        <a:t>No Spray Gel</a:t>
                      </a:r>
                    </a:p>
                  </a:txBody>
                  <a:tcPr anchor="ctr">
                    <a:solidFill>
                      <a:schemeClr val="bg2"/>
                    </a:solidFill>
                  </a:tcPr>
                </a:tc>
                <a:tc>
                  <a:txBody>
                    <a:bodyPr/>
                    <a:lstStyle/>
                    <a:p>
                      <a:pPr algn="ctr">
                        <a:defRPr sz="1100">
                          <a:latin typeface="Nexa Book"/>
                        </a:defRPr>
                      </a:pPr>
                      <a:r>
                        <a:rPr b="1">
                          <a:solidFill>
                            <a:srgbClr val="575555"/>
                          </a:solidFill>
                        </a:rPr>
                        <a:t>No Spray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25251734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3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0.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9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5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Fluido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2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2239278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6.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9.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Gel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7.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8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9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19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9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496088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7.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5.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9.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8.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2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7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9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5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3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43456314"/>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9.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7.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8.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0.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0.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1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7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0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3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9.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4413472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2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25.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9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99148616"/>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erapil De San Luis S.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7.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6.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8791531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8.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9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erapil De San Luis S.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7.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18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3248307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0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9.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anded Pack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0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8.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3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8.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8.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After Su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14223245"/>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8.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27.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8.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0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4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5549819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7.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2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6.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erapil De San Luis S.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1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2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0.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9.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200682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North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12705223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388201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South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32135538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75680149"/>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5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8.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erapil De San Luis S.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7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9.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9068454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7.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2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3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56995450"/>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7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0981530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8.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9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0.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0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1873048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9.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9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1338623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0.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9.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74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26326025"/>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0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0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4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0696433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0.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3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0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5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2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3981167"/>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6.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10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40.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1028452"/>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7.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8.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670285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North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60920441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64709265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24838949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1449357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tc>
                  <a:txBody>
                    <a:bodyPr/>
                    <a:lstStyle/>
                    <a:p>
                      <a:pPr algn="ctr">
                        <a:defRPr sz="1100">
                          <a:latin typeface="Nexa Book"/>
                        </a:defRPr>
                      </a:pPr>
                      <a:r>
                        <a:rPr b="1">
                          <a:solidFill>
                            <a:srgbClr val="575555"/>
                          </a:solidFill>
                        </a:rPr>
                        <a:t>No Spray Liquido</a:t>
                      </a:r>
                    </a:p>
                  </a:txBody>
                  <a:tcPr anchor="ctr">
                    <a:solidFill>
                      <a:schemeClr val="bg2"/>
                    </a:solidFill>
                  </a:tcPr>
                </a:tc>
                <a:tc>
                  <a:txBody>
                    <a:bodyPr/>
                    <a:lstStyle/>
                    <a:p>
                      <a:pPr algn="ctr">
                        <a:defRPr sz="1100">
                          <a:latin typeface="Nexa Book"/>
                        </a:defRPr>
                      </a:pPr>
                      <a:r>
                        <a:rPr b="1">
                          <a:solidFill>
                            <a:srgbClr val="575555"/>
                          </a:solidFill>
                        </a:rPr>
                        <a:t>No Spray Gel</a:t>
                      </a:r>
                    </a:p>
                  </a:txBody>
                  <a:tcPr anchor="ctr">
                    <a:solidFill>
                      <a:schemeClr val="bg2"/>
                    </a:solidFill>
                  </a:tcPr>
                </a:tc>
                <a:tc>
                  <a:txBody>
                    <a:bodyPr/>
                    <a:lstStyle/>
                    <a:p>
                      <a:pPr algn="ctr">
                        <a:defRPr sz="1100">
                          <a:latin typeface="Nexa Book"/>
                        </a:defRPr>
                      </a:pPr>
                      <a:r>
                        <a:rPr b="1">
                          <a:solidFill>
                            <a:srgbClr val="575555"/>
                          </a:solidFill>
                        </a:rPr>
                        <a:t>No Spray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639131643"/>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7.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5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1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6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8.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0890272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07.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1330791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7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0.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5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3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7.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43366108"/>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7.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0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88.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8.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7.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0.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90734485"/>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9.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0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0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7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96069511"/>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8.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5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7342877"/>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8.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0.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75694787"/>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8.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6.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7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9.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2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1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7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9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6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8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0259178"/>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3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0.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0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49.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6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Fluido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2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5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8.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8149275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0.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98.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9.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Gel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7.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19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9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3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999465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Southea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70657861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0239942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9.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7.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8.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9.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2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7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7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9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33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9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29709497"/>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3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7.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8.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7.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19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7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0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6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3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76737455"/>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8.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7.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6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0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25.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9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70877189"/>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26994639"/>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29400682"/>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868251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9631380"/>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051769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0654141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59804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Bají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23691029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8462019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97337831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42214376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tc>
                  <a:txBody>
                    <a:bodyPr/>
                    <a:lstStyle/>
                    <a:p>
                      <a:pPr algn="ctr">
                        <a:defRPr sz="1100">
                          <a:latin typeface="Nexa Book"/>
                        </a:defRPr>
                      </a:pPr>
                      <a:r>
                        <a:rPr b="1">
                          <a:solidFill>
                            <a:srgbClr val="575555"/>
                          </a:solidFill>
                        </a:rPr>
                        <a:t>No Spray Liquido</a:t>
                      </a:r>
                    </a:p>
                  </a:txBody>
                  <a:tcPr anchor="ctr">
                    <a:solidFill>
                      <a:schemeClr val="bg2"/>
                    </a:solidFill>
                  </a:tcPr>
                </a:tc>
                <a:tc>
                  <a:txBody>
                    <a:bodyPr/>
                    <a:lstStyle/>
                    <a:p>
                      <a:pPr algn="ctr">
                        <a:defRPr sz="1100">
                          <a:latin typeface="Nexa Book"/>
                        </a:defRPr>
                      </a:pPr>
                      <a:r>
                        <a:rPr b="1">
                          <a:solidFill>
                            <a:srgbClr val="575555"/>
                          </a:solidFill>
                        </a:rPr>
                        <a:t>No Spray Gel</a:t>
                      </a:r>
                    </a:p>
                  </a:txBody>
                  <a:tcPr anchor="ctr">
                    <a:solidFill>
                      <a:schemeClr val="bg2"/>
                    </a:solidFill>
                  </a:tcPr>
                </a:tc>
                <a:tc>
                  <a:txBody>
                    <a:bodyPr/>
                    <a:lstStyle/>
                    <a:p>
                      <a:pPr algn="ctr">
                        <a:defRPr sz="1100">
                          <a:latin typeface="Nexa Book"/>
                        </a:defRPr>
                      </a:pPr>
                      <a:r>
                        <a:rPr b="1">
                          <a:solidFill>
                            <a:srgbClr val="575555"/>
                          </a:solidFill>
                        </a:rPr>
                        <a:t>No Spray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05074932"/>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3522867"/>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24680351"/>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6104624"/>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82695856"/>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3591317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8545944"/>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5499155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01226593"/>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29633713"/>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53305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We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43481401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240740366"/>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83919466"/>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06183326"/>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28280616"/>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7597707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15426301"/>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68754955"/>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5667789"/>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0576729"/>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7337864"/>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97715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Center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3513655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10938419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13256143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08747975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tc>
                  <a:txBody>
                    <a:bodyPr/>
                    <a:lstStyle/>
                    <a:p>
                      <a:pPr algn="ctr">
                        <a:defRPr sz="1100">
                          <a:latin typeface="Nexa Book"/>
                        </a:defRPr>
                      </a:pPr>
                      <a:r>
                        <a:rPr b="1">
                          <a:solidFill>
                            <a:srgbClr val="575555"/>
                          </a:solidFill>
                        </a:rPr>
                        <a:t>No Spray Liquido</a:t>
                      </a:r>
                    </a:p>
                  </a:txBody>
                  <a:tcPr anchor="ctr">
                    <a:solidFill>
                      <a:schemeClr val="bg2"/>
                    </a:solidFill>
                  </a:tcPr>
                </a:tc>
                <a:tc>
                  <a:txBody>
                    <a:bodyPr/>
                    <a:lstStyle/>
                    <a:p>
                      <a:pPr algn="ctr">
                        <a:defRPr sz="1100">
                          <a:latin typeface="Nexa Book"/>
                        </a:defRPr>
                      </a:pPr>
                      <a:r>
                        <a:rPr b="1">
                          <a:solidFill>
                            <a:srgbClr val="575555"/>
                          </a:solidFill>
                        </a:rPr>
                        <a:t>No Spray Gel</a:t>
                      </a:r>
                    </a:p>
                  </a:txBody>
                  <a:tcPr anchor="ctr">
                    <a:solidFill>
                      <a:schemeClr val="bg2"/>
                    </a:solidFill>
                  </a:tcPr>
                </a:tc>
                <a:tc>
                  <a:txBody>
                    <a:bodyPr/>
                    <a:lstStyle/>
                    <a:p>
                      <a:pPr algn="ctr">
                        <a:defRPr sz="1100">
                          <a:latin typeface="Nexa Book"/>
                        </a:defRPr>
                      </a:pPr>
                      <a:r>
                        <a:rPr b="1">
                          <a:solidFill>
                            <a:srgbClr val="575555"/>
                          </a:solidFill>
                        </a:rPr>
                        <a:t>No Spray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8887544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345429"/>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62615767"/>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9548703"/>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3478748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306388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9243493"/>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4420977"/>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7712609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7582589"/>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264245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27761506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34696618"/>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1903790"/>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8505603"/>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92460840"/>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413283"/>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75323259"/>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81917997"/>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73483710"/>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37543160"/>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68529021"/>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12407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50260716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68857114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69538220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10392692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40623760"/>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77636006"/>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25257005"/>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02938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91368593"/>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3751223"/>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6137652"/>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8823054"/>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7008081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5353564"/>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025986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37503307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51200164"/>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32278951"/>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62541833"/>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2202069"/>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9761748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891295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8196298"/>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69933256"/>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4445782"/>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6923406"/>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617647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87469256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26994762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88227926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23790961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59384102"/>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55905403"/>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1102161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89524890"/>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60728"/>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0783133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8322659"/>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6825277"/>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192010"/>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74002650"/>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8294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Southea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95687097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118135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5865396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5745134"/>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6970664"/>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7855995"/>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7351350"/>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6323310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97166696"/>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89955907"/>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52502680"/>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5470884"/>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301057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838617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7838416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85027757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48988061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9078013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29803112"/>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13502323"/>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4218481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7396641"/>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09614220"/>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24003237"/>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8409965"/>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2020749"/>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83561966"/>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81237494"/>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594315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14001600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41564161"/>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21226809"/>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10592135"/>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3657496"/>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3933159"/>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64258936"/>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1599120"/>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7370063"/>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26782211"/>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0309879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5825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1840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04595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3489049"/>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0314884"/>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52369956"/>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246537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6896499"/>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5912094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0579198"/>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8152541"/>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4668578"/>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26940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13325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5295909"/>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04517463"/>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5698011"/>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45265412"/>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02152927"/>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05670373"/>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38862765"/>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882397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4393594"/>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6151450"/>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24590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43424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03796911"/>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5910719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63121148"/>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57234747"/>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17432323"/>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8828206"/>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8596963"/>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73599642"/>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8465471"/>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3929777"/>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30166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79018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1705531"/>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4859561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2122817"/>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04238296"/>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10182303"/>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37095941"/>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825863"/>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51950415"/>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19005870"/>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74342742"/>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468615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Bají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9973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5474989"/>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73471780"/>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4920412"/>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6385174"/>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19683106"/>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6334889"/>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50710991"/>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4310290"/>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7173239"/>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2390313"/>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429018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510466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7506596"/>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70076842"/>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55507817"/>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0896807"/>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01176205"/>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07523064"/>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87815977"/>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92838677"/>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28469351"/>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12530459"/>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315454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Cente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23258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3591043"/>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2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304772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Bajío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54871781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03709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6743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34642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284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95329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17341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13360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69380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32890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46409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53952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2834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511486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94751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064406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9737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930864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6125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79933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30415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71568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We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78589405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99935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7388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10315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11534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577743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79518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577017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00906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52785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48584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886823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55501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857159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42553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32063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6463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8498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89407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05628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46211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8758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Center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19806190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718671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73813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311908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11466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494512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945606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26616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99435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72373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243273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26416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43373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48147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98508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582518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61354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60995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4801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36256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64302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94905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04835343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01403520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14352769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62211263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08464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300024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47754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15356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27548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42758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843958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4799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212884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34915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043537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47742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99441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318645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42365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3966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95278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563329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406258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428476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4831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South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58494571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21632675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10168405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43232412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26235055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25376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936713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12209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155467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6295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630672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47875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9083273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1593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12066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29313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351766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34187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312078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494162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144494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024958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8715753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29319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4529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3</TotalTime>
  <Words>49884</Words>
  <Application>Microsoft Office PowerPoint</Application>
  <PresentationFormat>On-screen Show (16:9)</PresentationFormat>
  <Paragraphs>14857</Paragraphs>
  <Slides>490</Slides>
  <Notes>22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90</vt:i4>
      </vt:variant>
    </vt:vector>
  </HeadingPairs>
  <TitlesOfParts>
    <vt:vector size="50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lpstr>SubCategory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1</cp:revision>
  <dcterms:created xsi:type="dcterms:W3CDTF">2024-07-05T14:56:51Z</dcterms:created>
  <dcterms:modified xsi:type="dcterms:W3CDTF">2025-06-22T23:0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